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  <p:sldMasterId id="2147483686" r:id="rId4"/>
    <p:sldMasterId id="2147483700" r:id="rId5"/>
    <p:sldMasterId id="2147483712" r:id="rId6"/>
  </p:sldMasterIdLst>
  <p:notesMasterIdLst>
    <p:notesMasterId r:id="rId35"/>
  </p:notesMasterIdLst>
  <p:sldIdLst>
    <p:sldId id="315" r:id="rId7"/>
    <p:sldId id="316" r:id="rId8"/>
    <p:sldId id="317" r:id="rId9"/>
    <p:sldId id="318" r:id="rId10"/>
    <p:sldId id="319" r:id="rId11"/>
    <p:sldId id="281" r:id="rId12"/>
    <p:sldId id="303" r:id="rId13"/>
    <p:sldId id="304" r:id="rId14"/>
    <p:sldId id="300" r:id="rId15"/>
    <p:sldId id="305" r:id="rId16"/>
    <p:sldId id="314" r:id="rId17"/>
    <p:sldId id="258" r:id="rId18"/>
    <p:sldId id="296" r:id="rId19"/>
    <p:sldId id="295" r:id="rId20"/>
    <p:sldId id="297" r:id="rId21"/>
    <p:sldId id="276" r:id="rId22"/>
    <p:sldId id="269" r:id="rId23"/>
    <p:sldId id="273" r:id="rId24"/>
    <p:sldId id="274" r:id="rId25"/>
    <p:sldId id="294" r:id="rId26"/>
    <p:sldId id="306" r:id="rId27"/>
    <p:sldId id="307" r:id="rId28"/>
    <p:sldId id="308" r:id="rId29"/>
    <p:sldId id="309" r:id="rId30"/>
    <p:sldId id="310" r:id="rId31"/>
    <p:sldId id="311" r:id="rId32"/>
    <p:sldId id="312" r:id="rId33"/>
    <p:sldId id="321" r:id="rId34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1652A2"/>
    <a:srgbClr val="F74902"/>
    <a:srgbClr val="FF6600"/>
    <a:srgbClr val="FF3300"/>
    <a:srgbClr val="056396"/>
    <a:srgbClr val="8CB548"/>
    <a:srgbClr val="E9EDF4"/>
    <a:srgbClr val="CC99FF"/>
    <a:srgbClr val="F69C64"/>
    <a:srgbClr val="A5D7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06" autoAdjust="0"/>
    <p:restoredTop sz="94660"/>
  </p:normalViewPr>
  <p:slideViewPr>
    <p:cSldViewPr>
      <p:cViewPr varScale="1">
        <p:scale>
          <a:sx n="74" d="100"/>
          <a:sy n="74" d="100"/>
        </p:scale>
        <p:origin x="-1212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ableStyles" Target="tableStyles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8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3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E575609-CA4A-D749-AE60-2559696F7854}" type="doc">
      <dgm:prSet loTypeId="urn:microsoft.com/office/officeart/2005/8/layout/process1" loCatId="" qsTypeId="urn:microsoft.com/office/officeart/2005/8/quickstyle/simple4" qsCatId="simple" csTypeId="urn:microsoft.com/office/officeart/2005/8/colors/colorful1#8" csCatId="colorful" phldr="1"/>
      <dgm:spPr/>
      <dgm:t>
        <a:bodyPr/>
        <a:lstStyle/>
        <a:p>
          <a:endParaRPr lang="en-US"/>
        </a:p>
      </dgm:t>
    </dgm:pt>
    <dgm:pt modelId="{5874F2A7-F8DE-624B-B6CF-A0FC31F5C803}">
      <dgm:prSet phldrT="[Text]" custT="1"/>
      <dgm:spPr/>
      <dgm:t>
        <a:bodyPr/>
        <a:lstStyle/>
        <a:p>
          <a:r>
            <a:rPr lang="en-US" sz="1000" dirty="0" smtClean="0">
              <a:solidFill>
                <a:schemeClr val="tx1"/>
              </a:solidFill>
            </a:rPr>
            <a:t>Community Groups</a:t>
          </a:r>
          <a:endParaRPr lang="en-US" sz="1000" dirty="0">
            <a:solidFill>
              <a:schemeClr val="tx1"/>
            </a:solidFill>
          </a:endParaRPr>
        </a:p>
      </dgm:t>
    </dgm:pt>
    <dgm:pt modelId="{D9C9B351-6116-DB44-AAD8-24A763C971BE}" type="parTrans" cxnId="{4CEA6E6F-9A1D-4B4E-AF02-1E5EC0E2F7D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F439F658-1AC4-2B48-926D-2457F17D0083}" type="sibTrans" cxnId="{4CEA6E6F-9A1D-4B4E-AF02-1E5EC0E2F7DB}">
      <dgm:prSet/>
      <dgm:spPr/>
      <dgm:t>
        <a:bodyPr/>
        <a:lstStyle/>
        <a:p>
          <a:endParaRPr lang="en-US" dirty="0">
            <a:solidFill>
              <a:schemeClr val="tx1"/>
            </a:solidFill>
          </a:endParaRPr>
        </a:p>
      </dgm:t>
    </dgm:pt>
    <dgm:pt modelId="{B09FCB3A-96AF-FD4A-A3DE-2DE54F3C1106}">
      <dgm:prSet phldrT="[Text]" custT="1"/>
      <dgm:spPr/>
      <dgm:t>
        <a:bodyPr/>
        <a:lstStyle/>
        <a:p>
          <a:r>
            <a:rPr lang="en-US" sz="1000" dirty="0" smtClean="0">
              <a:solidFill>
                <a:schemeClr val="tx1"/>
              </a:solidFill>
            </a:rPr>
            <a:t>Businesses &amp; Employer Networks</a:t>
          </a:r>
          <a:endParaRPr lang="en-US" sz="1000" dirty="0">
            <a:solidFill>
              <a:schemeClr val="tx1"/>
            </a:solidFill>
          </a:endParaRPr>
        </a:p>
      </dgm:t>
    </dgm:pt>
    <dgm:pt modelId="{B62CF21D-5F37-6C4C-92ED-3C08ABAC6476}" type="parTrans" cxnId="{5B9B26C1-5F5D-F741-AB5C-48D1E8FD854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2FCEDF6-D1D0-FE42-A784-553C06EB3FF9}" type="sibTrans" cxnId="{5B9B26C1-5F5D-F741-AB5C-48D1E8FD8543}">
      <dgm:prSet/>
      <dgm:spPr/>
      <dgm:t>
        <a:bodyPr/>
        <a:lstStyle/>
        <a:p>
          <a:endParaRPr lang="en-US" dirty="0">
            <a:solidFill>
              <a:schemeClr val="tx1"/>
            </a:solidFill>
          </a:endParaRPr>
        </a:p>
      </dgm:t>
    </dgm:pt>
    <dgm:pt modelId="{14BAF2C5-4444-8249-A770-29C7825C297F}">
      <dgm:prSet phldrT="[Text]" custT="1"/>
      <dgm:spPr/>
      <dgm:t>
        <a:bodyPr/>
        <a:lstStyle/>
        <a:p>
          <a:r>
            <a:rPr lang="en-US" sz="1000" dirty="0" smtClean="0">
              <a:solidFill>
                <a:schemeClr val="tx1"/>
              </a:solidFill>
            </a:rPr>
            <a:t>Other Associa-tions</a:t>
          </a:r>
          <a:endParaRPr lang="en-US" sz="1000" dirty="0">
            <a:solidFill>
              <a:schemeClr val="tx1"/>
            </a:solidFill>
          </a:endParaRPr>
        </a:p>
      </dgm:t>
    </dgm:pt>
    <dgm:pt modelId="{215BEF53-BDE7-D942-8F14-798F787B6F0F}" type="parTrans" cxnId="{32AC4081-10E9-664C-9BB1-A181E08A365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42D8701-081F-A04D-B9AF-EB0A249F5BBE}" type="sibTrans" cxnId="{32AC4081-10E9-664C-9BB1-A181E08A365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9CF99539-63B5-694B-94F3-A72B62AA3EED}">
      <dgm:prSet phldrT="[Text]" custT="1"/>
      <dgm:spPr/>
      <dgm:t>
        <a:bodyPr/>
        <a:lstStyle/>
        <a:p>
          <a:r>
            <a:rPr lang="en-US" sz="1000" dirty="0" smtClean="0">
              <a:solidFill>
                <a:schemeClr val="tx1"/>
              </a:solidFill>
            </a:rPr>
            <a:t>Civic Groups</a:t>
          </a:r>
          <a:endParaRPr lang="en-US" sz="1000" dirty="0">
            <a:solidFill>
              <a:schemeClr val="tx1"/>
            </a:solidFill>
          </a:endParaRPr>
        </a:p>
      </dgm:t>
    </dgm:pt>
    <dgm:pt modelId="{CCDFC551-F2AB-4E4D-84CD-BFA6C517B27B}" type="parTrans" cxnId="{3DB4F204-CB9E-624C-9BCD-56609A2EE98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D42CBCA0-E67B-B34D-B8B9-7A04079B4BB2}" type="sibTrans" cxnId="{3DB4F204-CB9E-624C-9BCD-56609A2EE981}">
      <dgm:prSet/>
      <dgm:spPr/>
      <dgm:t>
        <a:bodyPr/>
        <a:lstStyle/>
        <a:p>
          <a:endParaRPr lang="en-US" dirty="0">
            <a:solidFill>
              <a:schemeClr val="tx1"/>
            </a:solidFill>
          </a:endParaRPr>
        </a:p>
      </dgm:t>
    </dgm:pt>
    <dgm:pt modelId="{929CFC94-D60B-6F44-B610-C0BB7AD17837}">
      <dgm:prSet phldrT="[Text]" custT="1"/>
      <dgm:spPr/>
      <dgm:t>
        <a:bodyPr/>
        <a:lstStyle/>
        <a:p>
          <a:r>
            <a:rPr lang="en-US" sz="1000" dirty="0" smtClean="0">
              <a:solidFill>
                <a:schemeClr val="tx1"/>
              </a:solidFill>
            </a:rPr>
            <a:t>Non-Profits</a:t>
          </a:r>
        </a:p>
      </dgm:t>
    </dgm:pt>
    <dgm:pt modelId="{607DE4F3-225A-7347-812F-89A4EBC77D84}" type="parTrans" cxnId="{634D7126-8336-F94F-966B-EB24D74EA87C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A4BFA22-3D9F-7146-AAAD-D767F22CCD9E}" type="sibTrans" cxnId="{634D7126-8336-F94F-966B-EB24D74EA87C}">
      <dgm:prSet/>
      <dgm:spPr/>
      <dgm:t>
        <a:bodyPr/>
        <a:lstStyle/>
        <a:p>
          <a:endParaRPr lang="en-US" dirty="0">
            <a:solidFill>
              <a:schemeClr val="tx1"/>
            </a:solidFill>
          </a:endParaRPr>
        </a:p>
      </dgm:t>
    </dgm:pt>
    <dgm:pt modelId="{48F926B1-BB62-D04D-BFA6-5346066BE8B4}">
      <dgm:prSet phldrT="[Text]" custT="1"/>
      <dgm:spPr/>
      <dgm:t>
        <a:bodyPr/>
        <a:lstStyle/>
        <a:p>
          <a:r>
            <a:rPr lang="en-US" sz="1000" dirty="0" smtClean="0">
              <a:solidFill>
                <a:schemeClr val="tx1"/>
              </a:solidFill>
            </a:rPr>
            <a:t>Other Churches  Synagogues Mosques</a:t>
          </a:r>
          <a:endParaRPr lang="en-US" sz="1000" dirty="0">
            <a:solidFill>
              <a:schemeClr val="tx1"/>
            </a:solidFill>
          </a:endParaRPr>
        </a:p>
      </dgm:t>
    </dgm:pt>
    <dgm:pt modelId="{ACD53D35-17F8-734D-825E-012957ABA64C}" type="parTrans" cxnId="{7DFA9DC6-EFF0-FA4E-B908-3ED160F3C82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80E1212-46B5-B945-8804-0CCD9E69CA7A}" type="sibTrans" cxnId="{7DFA9DC6-EFF0-FA4E-B908-3ED160F3C82B}">
      <dgm:prSet/>
      <dgm:spPr/>
      <dgm:t>
        <a:bodyPr/>
        <a:lstStyle/>
        <a:p>
          <a:endParaRPr lang="en-US" dirty="0">
            <a:solidFill>
              <a:schemeClr val="tx1"/>
            </a:solidFill>
          </a:endParaRPr>
        </a:p>
      </dgm:t>
    </dgm:pt>
    <dgm:pt modelId="{80C139E2-1CFE-8141-BF22-B6903197DA66}">
      <dgm:prSet phldrT="[Text]" custT="1"/>
      <dgm:spPr/>
      <dgm:t>
        <a:bodyPr/>
        <a:lstStyle/>
        <a:p>
          <a:r>
            <a:rPr lang="en-US" sz="1000" dirty="0" smtClean="0">
              <a:solidFill>
                <a:schemeClr val="tx1"/>
              </a:solidFill>
            </a:rPr>
            <a:t>Schools and Colleges</a:t>
          </a:r>
          <a:endParaRPr lang="en-US" sz="1000" dirty="0">
            <a:solidFill>
              <a:schemeClr val="tx1"/>
            </a:solidFill>
          </a:endParaRPr>
        </a:p>
      </dgm:t>
    </dgm:pt>
    <dgm:pt modelId="{8258E147-7B74-8D44-BE4A-1B09BC3DCB38}" type="parTrans" cxnId="{0A17BC0A-52D5-B449-9C73-3AB7D6DE48D9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820F7F0-74EC-3E4F-956F-26357217F689}" type="sibTrans" cxnId="{0A17BC0A-52D5-B449-9C73-3AB7D6DE48D9}">
      <dgm:prSet/>
      <dgm:spPr/>
      <dgm:t>
        <a:bodyPr/>
        <a:lstStyle/>
        <a:p>
          <a:endParaRPr lang="en-US" dirty="0">
            <a:solidFill>
              <a:schemeClr val="tx1"/>
            </a:solidFill>
          </a:endParaRPr>
        </a:p>
      </dgm:t>
    </dgm:pt>
    <dgm:pt modelId="{B82CF941-DF3B-3E41-B5EC-537FB37D19FE}">
      <dgm:prSet phldrT="[Text]" custT="1"/>
      <dgm:spPr/>
      <dgm:t>
        <a:bodyPr/>
        <a:lstStyle/>
        <a:p>
          <a:r>
            <a:rPr lang="en-US" sz="1000" dirty="0" smtClean="0">
              <a:solidFill>
                <a:schemeClr val="tx1"/>
              </a:solidFill>
            </a:rPr>
            <a:t>Friends &amp; Relatives</a:t>
          </a:r>
          <a:endParaRPr lang="en-US" sz="1000" dirty="0">
            <a:solidFill>
              <a:schemeClr val="tx1"/>
            </a:solidFill>
          </a:endParaRPr>
        </a:p>
      </dgm:t>
    </dgm:pt>
    <dgm:pt modelId="{DB4246A1-8BDF-CF41-91C5-D59E4BB3B75B}" type="parTrans" cxnId="{CB959EDE-B264-6043-ABE9-DC86ED072D7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9114FB7E-283F-DC44-9800-134DBBAD192F}" type="sibTrans" cxnId="{CB959EDE-B264-6043-ABE9-DC86ED072D77}">
      <dgm:prSet/>
      <dgm:spPr/>
      <dgm:t>
        <a:bodyPr/>
        <a:lstStyle/>
        <a:p>
          <a:endParaRPr lang="en-US" dirty="0">
            <a:solidFill>
              <a:schemeClr val="tx1"/>
            </a:solidFill>
          </a:endParaRPr>
        </a:p>
      </dgm:t>
    </dgm:pt>
    <dgm:pt modelId="{02F20D30-9E9C-4945-A888-A8F0FF2ECAD0}" type="pres">
      <dgm:prSet presAssocID="{EE575609-CA4A-D749-AE60-2559696F785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577868B-5F69-0D41-9A0F-6D08B4669585}" type="pres">
      <dgm:prSet presAssocID="{5874F2A7-F8DE-624B-B6CF-A0FC31F5C803}" presName="node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C33F16C-EE41-F84A-9731-D9023350E254}" type="pres">
      <dgm:prSet presAssocID="{F439F658-1AC4-2B48-926D-2457F17D0083}" presName="sibTrans" presStyleLbl="sibTrans2D1" presStyleIdx="0" presStyleCnt="7"/>
      <dgm:spPr/>
      <dgm:t>
        <a:bodyPr/>
        <a:lstStyle/>
        <a:p>
          <a:endParaRPr lang="en-US"/>
        </a:p>
      </dgm:t>
    </dgm:pt>
    <dgm:pt modelId="{10E54208-AEE8-0544-8198-09C09A502607}" type="pres">
      <dgm:prSet presAssocID="{F439F658-1AC4-2B48-926D-2457F17D0083}" presName="connectorText" presStyleLbl="sibTrans2D1" presStyleIdx="0" presStyleCnt="7"/>
      <dgm:spPr/>
      <dgm:t>
        <a:bodyPr/>
        <a:lstStyle/>
        <a:p>
          <a:endParaRPr lang="en-US"/>
        </a:p>
      </dgm:t>
    </dgm:pt>
    <dgm:pt modelId="{35610830-AC9C-D944-8C38-C6A73D2FFCFA}" type="pres">
      <dgm:prSet presAssocID="{B09FCB3A-96AF-FD4A-A3DE-2DE54F3C1106}" presName="node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8150F2-386F-8243-949E-9C7C99D8C7C6}" type="pres">
      <dgm:prSet presAssocID="{B2FCEDF6-D1D0-FE42-A784-553C06EB3FF9}" presName="sibTrans" presStyleLbl="sibTrans2D1" presStyleIdx="1" presStyleCnt="7"/>
      <dgm:spPr/>
      <dgm:t>
        <a:bodyPr/>
        <a:lstStyle/>
        <a:p>
          <a:endParaRPr lang="en-US"/>
        </a:p>
      </dgm:t>
    </dgm:pt>
    <dgm:pt modelId="{FF305887-7869-D64F-B087-52ABDA4FBA92}" type="pres">
      <dgm:prSet presAssocID="{B2FCEDF6-D1D0-FE42-A784-553C06EB3FF9}" presName="connectorText" presStyleLbl="sibTrans2D1" presStyleIdx="1" presStyleCnt="7"/>
      <dgm:spPr/>
      <dgm:t>
        <a:bodyPr/>
        <a:lstStyle/>
        <a:p>
          <a:endParaRPr lang="en-US"/>
        </a:p>
      </dgm:t>
    </dgm:pt>
    <dgm:pt modelId="{42C76C49-C7E0-2C41-8497-C684C9B1A2F5}" type="pres">
      <dgm:prSet presAssocID="{9CF99539-63B5-694B-94F3-A72B62AA3EED}" presName="node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E0C10A-D7BB-264A-BAF5-4299EE870EF7}" type="pres">
      <dgm:prSet presAssocID="{D42CBCA0-E67B-B34D-B8B9-7A04079B4BB2}" presName="sibTrans" presStyleLbl="sibTrans2D1" presStyleIdx="2" presStyleCnt="7"/>
      <dgm:spPr/>
      <dgm:t>
        <a:bodyPr/>
        <a:lstStyle/>
        <a:p>
          <a:endParaRPr lang="en-US"/>
        </a:p>
      </dgm:t>
    </dgm:pt>
    <dgm:pt modelId="{7F56B5F8-D5E5-DD41-A97A-4AC487329159}" type="pres">
      <dgm:prSet presAssocID="{D42CBCA0-E67B-B34D-B8B9-7A04079B4BB2}" presName="connectorText" presStyleLbl="sibTrans2D1" presStyleIdx="2" presStyleCnt="7"/>
      <dgm:spPr/>
      <dgm:t>
        <a:bodyPr/>
        <a:lstStyle/>
        <a:p>
          <a:endParaRPr lang="en-US"/>
        </a:p>
      </dgm:t>
    </dgm:pt>
    <dgm:pt modelId="{905214EB-6857-BE4E-89B6-F7DCD050E8B3}" type="pres">
      <dgm:prSet presAssocID="{929CFC94-D60B-6F44-B610-C0BB7AD17837}" presName="node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4CC3D0B-D2B4-9F4A-A732-56009FE71DB9}" type="pres">
      <dgm:prSet presAssocID="{5A4BFA22-3D9F-7146-AAAD-D767F22CCD9E}" presName="sibTrans" presStyleLbl="sibTrans2D1" presStyleIdx="3" presStyleCnt="7"/>
      <dgm:spPr/>
      <dgm:t>
        <a:bodyPr/>
        <a:lstStyle/>
        <a:p>
          <a:endParaRPr lang="en-US"/>
        </a:p>
      </dgm:t>
    </dgm:pt>
    <dgm:pt modelId="{095AF7F7-13CB-984E-9AD3-DA7A41E077BC}" type="pres">
      <dgm:prSet presAssocID="{5A4BFA22-3D9F-7146-AAAD-D767F22CCD9E}" presName="connectorText" presStyleLbl="sibTrans2D1" presStyleIdx="3" presStyleCnt="7"/>
      <dgm:spPr/>
      <dgm:t>
        <a:bodyPr/>
        <a:lstStyle/>
        <a:p>
          <a:endParaRPr lang="en-US"/>
        </a:p>
      </dgm:t>
    </dgm:pt>
    <dgm:pt modelId="{CF985859-72CD-2A4D-AF78-6541520A56C8}" type="pres">
      <dgm:prSet presAssocID="{48F926B1-BB62-D04D-BFA6-5346066BE8B4}" presName="node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7A6C251-4146-5E49-ACD4-823D203A062E}" type="pres">
      <dgm:prSet presAssocID="{880E1212-46B5-B945-8804-0CCD9E69CA7A}" presName="sibTrans" presStyleLbl="sibTrans2D1" presStyleIdx="4" presStyleCnt="7"/>
      <dgm:spPr/>
      <dgm:t>
        <a:bodyPr/>
        <a:lstStyle/>
        <a:p>
          <a:endParaRPr lang="en-US"/>
        </a:p>
      </dgm:t>
    </dgm:pt>
    <dgm:pt modelId="{4E0B5B5B-44D5-3446-913B-45165F52914A}" type="pres">
      <dgm:prSet presAssocID="{880E1212-46B5-B945-8804-0CCD9E69CA7A}" presName="connectorText" presStyleLbl="sibTrans2D1" presStyleIdx="4" presStyleCnt="7"/>
      <dgm:spPr/>
      <dgm:t>
        <a:bodyPr/>
        <a:lstStyle/>
        <a:p>
          <a:endParaRPr lang="en-US"/>
        </a:p>
      </dgm:t>
    </dgm:pt>
    <dgm:pt modelId="{B295A64E-B66F-C944-9168-8AF39C9022B4}" type="pres">
      <dgm:prSet presAssocID="{80C139E2-1CFE-8141-BF22-B6903197DA66}" presName="node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54F998D-29D3-D848-AEBD-A79101EB562A}" type="pres">
      <dgm:prSet presAssocID="{7820F7F0-74EC-3E4F-956F-26357217F689}" presName="sibTrans" presStyleLbl="sibTrans2D1" presStyleIdx="5" presStyleCnt="7"/>
      <dgm:spPr/>
      <dgm:t>
        <a:bodyPr/>
        <a:lstStyle/>
        <a:p>
          <a:endParaRPr lang="en-US"/>
        </a:p>
      </dgm:t>
    </dgm:pt>
    <dgm:pt modelId="{CB7BA33F-2557-B044-B1FA-3E672B11C74F}" type="pres">
      <dgm:prSet presAssocID="{7820F7F0-74EC-3E4F-956F-26357217F689}" presName="connectorText" presStyleLbl="sibTrans2D1" presStyleIdx="5" presStyleCnt="7"/>
      <dgm:spPr/>
      <dgm:t>
        <a:bodyPr/>
        <a:lstStyle/>
        <a:p>
          <a:endParaRPr lang="en-US"/>
        </a:p>
      </dgm:t>
    </dgm:pt>
    <dgm:pt modelId="{D0E51000-73D3-744E-B575-4AE7CCDA0123}" type="pres">
      <dgm:prSet presAssocID="{B82CF941-DF3B-3E41-B5EC-537FB37D19FE}" presName="node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881ED90-C7D5-8842-BA3B-726BC543D2C4}" type="pres">
      <dgm:prSet presAssocID="{9114FB7E-283F-DC44-9800-134DBBAD192F}" presName="sibTrans" presStyleLbl="sibTrans2D1" presStyleIdx="6" presStyleCnt="7"/>
      <dgm:spPr/>
      <dgm:t>
        <a:bodyPr/>
        <a:lstStyle/>
        <a:p>
          <a:endParaRPr lang="en-US"/>
        </a:p>
      </dgm:t>
    </dgm:pt>
    <dgm:pt modelId="{FFCF06BE-E736-5744-8013-F2657059AFE4}" type="pres">
      <dgm:prSet presAssocID="{9114FB7E-283F-DC44-9800-134DBBAD192F}" presName="connectorText" presStyleLbl="sibTrans2D1" presStyleIdx="6" presStyleCnt="7"/>
      <dgm:spPr/>
      <dgm:t>
        <a:bodyPr/>
        <a:lstStyle/>
        <a:p>
          <a:endParaRPr lang="en-US"/>
        </a:p>
      </dgm:t>
    </dgm:pt>
    <dgm:pt modelId="{4E1F84DB-102F-5648-8353-BA30A69954FE}" type="pres">
      <dgm:prSet presAssocID="{14BAF2C5-4444-8249-A770-29C7825C297F}" presName="node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2B5C13A-EFAF-4F41-837C-F7D2005D3341}" type="presOf" srcId="{5874F2A7-F8DE-624B-B6CF-A0FC31F5C803}" destId="{1577868B-5F69-0D41-9A0F-6D08B4669585}" srcOrd="0" destOrd="0" presId="urn:microsoft.com/office/officeart/2005/8/layout/process1"/>
    <dgm:cxn modelId="{C65003E5-4D1E-47E4-A9D1-AA5654F53F9C}" type="presOf" srcId="{B09FCB3A-96AF-FD4A-A3DE-2DE54F3C1106}" destId="{35610830-AC9C-D944-8C38-C6A73D2FFCFA}" srcOrd="0" destOrd="0" presId="urn:microsoft.com/office/officeart/2005/8/layout/process1"/>
    <dgm:cxn modelId="{5C7027B2-B7C2-41DA-B967-DFED7B588132}" type="presOf" srcId="{80C139E2-1CFE-8141-BF22-B6903197DA66}" destId="{B295A64E-B66F-C944-9168-8AF39C9022B4}" srcOrd="0" destOrd="0" presId="urn:microsoft.com/office/officeart/2005/8/layout/process1"/>
    <dgm:cxn modelId="{32AC4081-10E9-664C-9BB1-A181E08A3657}" srcId="{EE575609-CA4A-D749-AE60-2559696F7854}" destId="{14BAF2C5-4444-8249-A770-29C7825C297F}" srcOrd="7" destOrd="0" parTransId="{215BEF53-BDE7-D942-8F14-798F787B6F0F}" sibTransId="{542D8701-081F-A04D-B9AF-EB0A249F5BBE}"/>
    <dgm:cxn modelId="{71233489-5E5C-4F69-BCAC-57224FAB4C3C}" type="presOf" srcId="{B2FCEDF6-D1D0-FE42-A784-553C06EB3FF9}" destId="{FF305887-7869-D64F-B087-52ABDA4FBA92}" srcOrd="1" destOrd="0" presId="urn:microsoft.com/office/officeart/2005/8/layout/process1"/>
    <dgm:cxn modelId="{4C5747EF-14E3-453F-AD68-E26198544C0B}" type="presOf" srcId="{D42CBCA0-E67B-B34D-B8B9-7A04079B4BB2}" destId="{7F56B5F8-D5E5-DD41-A97A-4AC487329159}" srcOrd="1" destOrd="0" presId="urn:microsoft.com/office/officeart/2005/8/layout/process1"/>
    <dgm:cxn modelId="{A5024F68-F095-4193-8153-9031095C79AC}" type="presOf" srcId="{880E1212-46B5-B945-8804-0CCD9E69CA7A}" destId="{4E0B5B5B-44D5-3446-913B-45165F52914A}" srcOrd="1" destOrd="0" presId="urn:microsoft.com/office/officeart/2005/8/layout/process1"/>
    <dgm:cxn modelId="{1E1B2E07-C5DB-4E36-96CF-467FDF8B4C42}" type="presOf" srcId="{48F926B1-BB62-D04D-BFA6-5346066BE8B4}" destId="{CF985859-72CD-2A4D-AF78-6541520A56C8}" srcOrd="0" destOrd="0" presId="urn:microsoft.com/office/officeart/2005/8/layout/process1"/>
    <dgm:cxn modelId="{86D1B4D4-5276-4E2C-9F8F-BAE4A808FEA4}" type="presOf" srcId="{7820F7F0-74EC-3E4F-956F-26357217F689}" destId="{354F998D-29D3-D848-AEBD-A79101EB562A}" srcOrd="0" destOrd="0" presId="urn:microsoft.com/office/officeart/2005/8/layout/process1"/>
    <dgm:cxn modelId="{79AD4497-23F4-4881-9EC3-BE573821149A}" type="presOf" srcId="{9CF99539-63B5-694B-94F3-A72B62AA3EED}" destId="{42C76C49-C7E0-2C41-8497-C684C9B1A2F5}" srcOrd="0" destOrd="0" presId="urn:microsoft.com/office/officeart/2005/8/layout/process1"/>
    <dgm:cxn modelId="{1B48B307-21EA-4839-9C82-6F90E721C64C}" type="presOf" srcId="{14BAF2C5-4444-8249-A770-29C7825C297F}" destId="{4E1F84DB-102F-5648-8353-BA30A69954FE}" srcOrd="0" destOrd="0" presId="urn:microsoft.com/office/officeart/2005/8/layout/process1"/>
    <dgm:cxn modelId="{99379883-ACCF-4E28-8B5C-ABBE6D94CA05}" type="presOf" srcId="{B82CF941-DF3B-3E41-B5EC-537FB37D19FE}" destId="{D0E51000-73D3-744E-B575-4AE7CCDA0123}" srcOrd="0" destOrd="0" presId="urn:microsoft.com/office/officeart/2005/8/layout/process1"/>
    <dgm:cxn modelId="{831EEFF5-3258-4008-8F60-9FE2E7B4A01D}" type="presOf" srcId="{F439F658-1AC4-2B48-926D-2457F17D0083}" destId="{10E54208-AEE8-0544-8198-09C09A502607}" srcOrd="1" destOrd="0" presId="urn:microsoft.com/office/officeart/2005/8/layout/process1"/>
    <dgm:cxn modelId="{EE7B7032-3E06-44B6-856B-1E40AF3FC777}" type="presOf" srcId="{7820F7F0-74EC-3E4F-956F-26357217F689}" destId="{CB7BA33F-2557-B044-B1FA-3E672B11C74F}" srcOrd="1" destOrd="0" presId="urn:microsoft.com/office/officeart/2005/8/layout/process1"/>
    <dgm:cxn modelId="{7DFA9DC6-EFF0-FA4E-B908-3ED160F3C82B}" srcId="{EE575609-CA4A-D749-AE60-2559696F7854}" destId="{48F926B1-BB62-D04D-BFA6-5346066BE8B4}" srcOrd="4" destOrd="0" parTransId="{ACD53D35-17F8-734D-825E-012957ABA64C}" sibTransId="{880E1212-46B5-B945-8804-0CCD9E69CA7A}"/>
    <dgm:cxn modelId="{C6B3AA8B-AB9F-4CCF-91ED-146BE7066F17}" type="presOf" srcId="{9114FB7E-283F-DC44-9800-134DBBAD192F}" destId="{FFCF06BE-E736-5744-8013-F2657059AFE4}" srcOrd="1" destOrd="0" presId="urn:microsoft.com/office/officeart/2005/8/layout/process1"/>
    <dgm:cxn modelId="{2BDB6EF0-20E5-44EB-9995-3547575779B1}" type="presOf" srcId="{929CFC94-D60B-6F44-B610-C0BB7AD17837}" destId="{905214EB-6857-BE4E-89B6-F7DCD050E8B3}" srcOrd="0" destOrd="0" presId="urn:microsoft.com/office/officeart/2005/8/layout/process1"/>
    <dgm:cxn modelId="{F756F43D-551F-47C6-9D97-F064404A90AE}" type="presOf" srcId="{F439F658-1AC4-2B48-926D-2457F17D0083}" destId="{1C33F16C-EE41-F84A-9731-D9023350E254}" srcOrd="0" destOrd="0" presId="urn:microsoft.com/office/officeart/2005/8/layout/process1"/>
    <dgm:cxn modelId="{0A17BC0A-52D5-B449-9C73-3AB7D6DE48D9}" srcId="{EE575609-CA4A-D749-AE60-2559696F7854}" destId="{80C139E2-1CFE-8141-BF22-B6903197DA66}" srcOrd="5" destOrd="0" parTransId="{8258E147-7B74-8D44-BE4A-1B09BC3DCB38}" sibTransId="{7820F7F0-74EC-3E4F-956F-26357217F689}"/>
    <dgm:cxn modelId="{97B27684-C1AF-4BBA-8F23-2899EE6F8544}" type="presOf" srcId="{D42CBCA0-E67B-B34D-B8B9-7A04079B4BB2}" destId="{BAE0C10A-D7BB-264A-BAF5-4299EE870EF7}" srcOrd="0" destOrd="0" presId="urn:microsoft.com/office/officeart/2005/8/layout/process1"/>
    <dgm:cxn modelId="{4CEA6E6F-9A1D-4B4E-AF02-1E5EC0E2F7DB}" srcId="{EE575609-CA4A-D749-AE60-2559696F7854}" destId="{5874F2A7-F8DE-624B-B6CF-A0FC31F5C803}" srcOrd="0" destOrd="0" parTransId="{D9C9B351-6116-DB44-AAD8-24A763C971BE}" sibTransId="{F439F658-1AC4-2B48-926D-2457F17D0083}"/>
    <dgm:cxn modelId="{24D292BA-3D83-4A99-9130-F84D08F574DB}" type="presOf" srcId="{880E1212-46B5-B945-8804-0CCD9E69CA7A}" destId="{A7A6C251-4146-5E49-ACD4-823D203A062E}" srcOrd="0" destOrd="0" presId="urn:microsoft.com/office/officeart/2005/8/layout/process1"/>
    <dgm:cxn modelId="{CB959EDE-B264-6043-ABE9-DC86ED072D77}" srcId="{EE575609-CA4A-D749-AE60-2559696F7854}" destId="{B82CF941-DF3B-3E41-B5EC-537FB37D19FE}" srcOrd="6" destOrd="0" parTransId="{DB4246A1-8BDF-CF41-91C5-D59E4BB3B75B}" sibTransId="{9114FB7E-283F-DC44-9800-134DBBAD192F}"/>
    <dgm:cxn modelId="{5B9B26C1-5F5D-F741-AB5C-48D1E8FD8543}" srcId="{EE575609-CA4A-D749-AE60-2559696F7854}" destId="{B09FCB3A-96AF-FD4A-A3DE-2DE54F3C1106}" srcOrd="1" destOrd="0" parTransId="{B62CF21D-5F37-6C4C-92ED-3C08ABAC6476}" sibTransId="{B2FCEDF6-D1D0-FE42-A784-553C06EB3FF9}"/>
    <dgm:cxn modelId="{8730F974-A748-42CE-B6F0-0244AC8AF97B}" type="presOf" srcId="{5A4BFA22-3D9F-7146-AAAD-D767F22CCD9E}" destId="{24CC3D0B-D2B4-9F4A-A732-56009FE71DB9}" srcOrd="0" destOrd="0" presId="urn:microsoft.com/office/officeart/2005/8/layout/process1"/>
    <dgm:cxn modelId="{ECF82524-A891-4560-8A71-65113ED7A03F}" type="presOf" srcId="{5A4BFA22-3D9F-7146-AAAD-D767F22CCD9E}" destId="{095AF7F7-13CB-984E-9AD3-DA7A41E077BC}" srcOrd="1" destOrd="0" presId="urn:microsoft.com/office/officeart/2005/8/layout/process1"/>
    <dgm:cxn modelId="{F7C12715-CF9E-42AD-B168-97138ED15C51}" type="presOf" srcId="{EE575609-CA4A-D749-AE60-2559696F7854}" destId="{02F20D30-9E9C-4945-A888-A8F0FF2ECAD0}" srcOrd="0" destOrd="0" presId="urn:microsoft.com/office/officeart/2005/8/layout/process1"/>
    <dgm:cxn modelId="{EF15303A-7DC5-41F6-9A9D-9971EA21625B}" type="presOf" srcId="{B2FCEDF6-D1D0-FE42-A784-553C06EB3FF9}" destId="{518150F2-386F-8243-949E-9C7C99D8C7C6}" srcOrd="0" destOrd="0" presId="urn:microsoft.com/office/officeart/2005/8/layout/process1"/>
    <dgm:cxn modelId="{BBDF80FF-0261-4A24-8E5D-0846B0BF6024}" type="presOf" srcId="{9114FB7E-283F-DC44-9800-134DBBAD192F}" destId="{F881ED90-C7D5-8842-BA3B-726BC543D2C4}" srcOrd="0" destOrd="0" presId="urn:microsoft.com/office/officeart/2005/8/layout/process1"/>
    <dgm:cxn modelId="{3DB4F204-CB9E-624C-9BCD-56609A2EE981}" srcId="{EE575609-CA4A-D749-AE60-2559696F7854}" destId="{9CF99539-63B5-694B-94F3-A72B62AA3EED}" srcOrd="2" destOrd="0" parTransId="{CCDFC551-F2AB-4E4D-84CD-BFA6C517B27B}" sibTransId="{D42CBCA0-E67B-B34D-B8B9-7A04079B4BB2}"/>
    <dgm:cxn modelId="{634D7126-8336-F94F-966B-EB24D74EA87C}" srcId="{EE575609-CA4A-D749-AE60-2559696F7854}" destId="{929CFC94-D60B-6F44-B610-C0BB7AD17837}" srcOrd="3" destOrd="0" parTransId="{607DE4F3-225A-7347-812F-89A4EBC77D84}" sibTransId="{5A4BFA22-3D9F-7146-AAAD-D767F22CCD9E}"/>
    <dgm:cxn modelId="{BEE1CFD8-F6DF-43DE-806B-B842C63F193C}" type="presParOf" srcId="{02F20D30-9E9C-4945-A888-A8F0FF2ECAD0}" destId="{1577868B-5F69-0D41-9A0F-6D08B4669585}" srcOrd="0" destOrd="0" presId="urn:microsoft.com/office/officeart/2005/8/layout/process1"/>
    <dgm:cxn modelId="{469A0248-64C3-4E58-AED0-23A2CAE486DC}" type="presParOf" srcId="{02F20D30-9E9C-4945-A888-A8F0FF2ECAD0}" destId="{1C33F16C-EE41-F84A-9731-D9023350E254}" srcOrd="1" destOrd="0" presId="urn:microsoft.com/office/officeart/2005/8/layout/process1"/>
    <dgm:cxn modelId="{91A5B13D-621A-40F9-AA2D-A7B93B349D92}" type="presParOf" srcId="{1C33F16C-EE41-F84A-9731-D9023350E254}" destId="{10E54208-AEE8-0544-8198-09C09A502607}" srcOrd="0" destOrd="0" presId="urn:microsoft.com/office/officeart/2005/8/layout/process1"/>
    <dgm:cxn modelId="{7CFF950A-7402-436A-B751-F34DFDDB4478}" type="presParOf" srcId="{02F20D30-9E9C-4945-A888-A8F0FF2ECAD0}" destId="{35610830-AC9C-D944-8C38-C6A73D2FFCFA}" srcOrd="2" destOrd="0" presId="urn:microsoft.com/office/officeart/2005/8/layout/process1"/>
    <dgm:cxn modelId="{4C6053A6-DBA8-4A56-AFC5-869DC8ADC39C}" type="presParOf" srcId="{02F20D30-9E9C-4945-A888-A8F0FF2ECAD0}" destId="{518150F2-386F-8243-949E-9C7C99D8C7C6}" srcOrd="3" destOrd="0" presId="urn:microsoft.com/office/officeart/2005/8/layout/process1"/>
    <dgm:cxn modelId="{778C1FDD-AED3-4ED1-8DCD-C4CF6E64B822}" type="presParOf" srcId="{518150F2-386F-8243-949E-9C7C99D8C7C6}" destId="{FF305887-7869-D64F-B087-52ABDA4FBA92}" srcOrd="0" destOrd="0" presId="urn:microsoft.com/office/officeart/2005/8/layout/process1"/>
    <dgm:cxn modelId="{FC439E43-6349-44D3-A747-29490FD2B90A}" type="presParOf" srcId="{02F20D30-9E9C-4945-A888-A8F0FF2ECAD0}" destId="{42C76C49-C7E0-2C41-8497-C684C9B1A2F5}" srcOrd="4" destOrd="0" presId="urn:microsoft.com/office/officeart/2005/8/layout/process1"/>
    <dgm:cxn modelId="{AFD2C6C4-27CB-4FB4-A7EB-DC36552CC607}" type="presParOf" srcId="{02F20D30-9E9C-4945-A888-A8F0FF2ECAD0}" destId="{BAE0C10A-D7BB-264A-BAF5-4299EE870EF7}" srcOrd="5" destOrd="0" presId="urn:microsoft.com/office/officeart/2005/8/layout/process1"/>
    <dgm:cxn modelId="{69A9D2A9-9E77-46B6-B741-37FFC2924C97}" type="presParOf" srcId="{BAE0C10A-D7BB-264A-BAF5-4299EE870EF7}" destId="{7F56B5F8-D5E5-DD41-A97A-4AC487329159}" srcOrd="0" destOrd="0" presId="urn:microsoft.com/office/officeart/2005/8/layout/process1"/>
    <dgm:cxn modelId="{9AADBDA1-877B-418A-AD23-CB3AAAD91F38}" type="presParOf" srcId="{02F20D30-9E9C-4945-A888-A8F0FF2ECAD0}" destId="{905214EB-6857-BE4E-89B6-F7DCD050E8B3}" srcOrd="6" destOrd="0" presId="urn:microsoft.com/office/officeart/2005/8/layout/process1"/>
    <dgm:cxn modelId="{1D500750-1675-47B9-8509-EFA95336581D}" type="presParOf" srcId="{02F20D30-9E9C-4945-A888-A8F0FF2ECAD0}" destId="{24CC3D0B-D2B4-9F4A-A732-56009FE71DB9}" srcOrd="7" destOrd="0" presId="urn:microsoft.com/office/officeart/2005/8/layout/process1"/>
    <dgm:cxn modelId="{221FD772-F610-40D8-8123-A9CB2D812F3B}" type="presParOf" srcId="{24CC3D0B-D2B4-9F4A-A732-56009FE71DB9}" destId="{095AF7F7-13CB-984E-9AD3-DA7A41E077BC}" srcOrd="0" destOrd="0" presId="urn:microsoft.com/office/officeart/2005/8/layout/process1"/>
    <dgm:cxn modelId="{E2774D41-4C96-4761-87A1-CDB786F0D346}" type="presParOf" srcId="{02F20D30-9E9C-4945-A888-A8F0FF2ECAD0}" destId="{CF985859-72CD-2A4D-AF78-6541520A56C8}" srcOrd="8" destOrd="0" presId="urn:microsoft.com/office/officeart/2005/8/layout/process1"/>
    <dgm:cxn modelId="{051E2995-B801-44F3-9648-14BC46FD3644}" type="presParOf" srcId="{02F20D30-9E9C-4945-A888-A8F0FF2ECAD0}" destId="{A7A6C251-4146-5E49-ACD4-823D203A062E}" srcOrd="9" destOrd="0" presId="urn:microsoft.com/office/officeart/2005/8/layout/process1"/>
    <dgm:cxn modelId="{85127E82-1D79-4FF6-B889-ADA1922622BF}" type="presParOf" srcId="{A7A6C251-4146-5E49-ACD4-823D203A062E}" destId="{4E0B5B5B-44D5-3446-913B-45165F52914A}" srcOrd="0" destOrd="0" presId="urn:microsoft.com/office/officeart/2005/8/layout/process1"/>
    <dgm:cxn modelId="{C7C71617-73C0-4864-8441-06098CFDB3E6}" type="presParOf" srcId="{02F20D30-9E9C-4945-A888-A8F0FF2ECAD0}" destId="{B295A64E-B66F-C944-9168-8AF39C9022B4}" srcOrd="10" destOrd="0" presId="urn:microsoft.com/office/officeart/2005/8/layout/process1"/>
    <dgm:cxn modelId="{1170DC45-9F25-47BF-818A-E1DEC4CC8AC1}" type="presParOf" srcId="{02F20D30-9E9C-4945-A888-A8F0FF2ECAD0}" destId="{354F998D-29D3-D848-AEBD-A79101EB562A}" srcOrd="11" destOrd="0" presId="urn:microsoft.com/office/officeart/2005/8/layout/process1"/>
    <dgm:cxn modelId="{2334A25F-9E95-4219-8668-6F92E1ED7BF7}" type="presParOf" srcId="{354F998D-29D3-D848-AEBD-A79101EB562A}" destId="{CB7BA33F-2557-B044-B1FA-3E672B11C74F}" srcOrd="0" destOrd="0" presId="urn:microsoft.com/office/officeart/2005/8/layout/process1"/>
    <dgm:cxn modelId="{7302B6E9-E760-48AA-9E59-9954928B25E7}" type="presParOf" srcId="{02F20D30-9E9C-4945-A888-A8F0FF2ECAD0}" destId="{D0E51000-73D3-744E-B575-4AE7CCDA0123}" srcOrd="12" destOrd="0" presId="urn:microsoft.com/office/officeart/2005/8/layout/process1"/>
    <dgm:cxn modelId="{9710A9E2-841C-4845-9963-23BF0D9EDFC0}" type="presParOf" srcId="{02F20D30-9E9C-4945-A888-A8F0FF2ECAD0}" destId="{F881ED90-C7D5-8842-BA3B-726BC543D2C4}" srcOrd="13" destOrd="0" presId="urn:microsoft.com/office/officeart/2005/8/layout/process1"/>
    <dgm:cxn modelId="{B23283AF-491C-483F-B16F-9F170183AE6A}" type="presParOf" srcId="{F881ED90-C7D5-8842-BA3B-726BC543D2C4}" destId="{FFCF06BE-E736-5744-8013-F2657059AFE4}" srcOrd="0" destOrd="0" presId="urn:microsoft.com/office/officeart/2005/8/layout/process1"/>
    <dgm:cxn modelId="{25DC1C05-C675-4389-8332-39E54311275A}" type="presParOf" srcId="{02F20D30-9E9C-4945-A888-A8F0FF2ECAD0}" destId="{4E1F84DB-102F-5648-8353-BA30A69954FE}" srcOrd="1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FAA585F-FFAD-4718-A20A-9D974DCB44B2}" type="doc">
      <dgm:prSet loTypeId="urn:microsoft.com/office/officeart/2005/8/layout/radial5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D93B447-6C0A-453C-849A-3D3203E0F79C}">
      <dgm:prSet phldrT="[Text]"/>
      <dgm:spPr>
        <a:solidFill>
          <a:srgbClr val="FFAB15"/>
        </a:solidFill>
        <a:ln>
          <a:solidFill>
            <a:srgbClr val="182D5A"/>
          </a:solidFill>
        </a:ln>
      </dgm:spPr>
      <dgm:t>
        <a:bodyPr/>
        <a:lstStyle/>
        <a:p>
          <a:r>
            <a:rPr lang="en-US" b="1" dirty="0" smtClean="0">
              <a:solidFill>
                <a:srgbClr val="182D5A"/>
              </a:solidFill>
            </a:rPr>
            <a:t>College Student</a:t>
          </a:r>
          <a:endParaRPr lang="en-US" b="1" dirty="0">
            <a:solidFill>
              <a:srgbClr val="182D5A"/>
            </a:solidFill>
          </a:endParaRPr>
        </a:p>
      </dgm:t>
    </dgm:pt>
    <dgm:pt modelId="{D7440F32-FA9B-47B7-8B7C-5D721C861F75}" type="parTrans" cxnId="{4797AAE1-0DCA-4465-A58A-40D6815E1198}">
      <dgm:prSet/>
      <dgm:spPr/>
      <dgm:t>
        <a:bodyPr/>
        <a:lstStyle/>
        <a:p>
          <a:endParaRPr lang="en-US"/>
        </a:p>
      </dgm:t>
    </dgm:pt>
    <dgm:pt modelId="{66479E43-A8C6-44C1-94C0-51600238FDEC}" type="sibTrans" cxnId="{4797AAE1-0DCA-4465-A58A-40D6815E1198}">
      <dgm:prSet/>
      <dgm:spPr/>
      <dgm:t>
        <a:bodyPr/>
        <a:lstStyle/>
        <a:p>
          <a:endParaRPr lang="en-US"/>
        </a:p>
      </dgm:t>
    </dgm:pt>
    <dgm:pt modelId="{EF906015-6958-4941-B0A7-2639F52B86EE}">
      <dgm:prSet phldrT="[Text]" custT="1"/>
      <dgm:spPr>
        <a:solidFill>
          <a:srgbClr val="495E0A"/>
        </a:solidFill>
        <a:ln>
          <a:solidFill>
            <a:srgbClr val="182D5A"/>
          </a:solidFill>
        </a:ln>
      </dgm:spPr>
      <dgm:t>
        <a:bodyPr/>
        <a:lstStyle/>
        <a:p>
          <a:r>
            <a:rPr lang="en-US" sz="2400" b="1" dirty="0" smtClean="0">
              <a:solidFill>
                <a:srgbClr val="FEFFDB"/>
              </a:solidFill>
            </a:rPr>
            <a:t>Peer and Career Mentors</a:t>
          </a:r>
          <a:endParaRPr lang="en-US" sz="1400" dirty="0">
            <a:solidFill>
              <a:srgbClr val="FEFFDB"/>
            </a:solidFill>
          </a:endParaRPr>
        </a:p>
      </dgm:t>
    </dgm:pt>
    <dgm:pt modelId="{026B93DE-403D-4FBA-8685-4A08C571B3A6}" type="parTrans" cxnId="{8D8C0F29-E045-4E74-A90D-76103BC603BE}">
      <dgm:prSet/>
      <dgm:spPr>
        <a:solidFill>
          <a:srgbClr val="182D5A"/>
        </a:solidFill>
      </dgm:spPr>
      <dgm:t>
        <a:bodyPr/>
        <a:lstStyle/>
        <a:p>
          <a:endParaRPr lang="en-US"/>
        </a:p>
      </dgm:t>
    </dgm:pt>
    <dgm:pt modelId="{26CFD6C0-A692-451A-AA6B-02313BB43A16}" type="sibTrans" cxnId="{8D8C0F29-E045-4E74-A90D-76103BC603BE}">
      <dgm:prSet/>
      <dgm:spPr/>
      <dgm:t>
        <a:bodyPr/>
        <a:lstStyle/>
        <a:p>
          <a:endParaRPr lang="en-US"/>
        </a:p>
      </dgm:t>
    </dgm:pt>
    <dgm:pt modelId="{CB882958-0350-4370-9809-75E89F350AB2}">
      <dgm:prSet phldrT="[Text]" custT="1"/>
      <dgm:spPr>
        <a:solidFill>
          <a:srgbClr val="495E0A"/>
        </a:solidFill>
        <a:ln>
          <a:solidFill>
            <a:srgbClr val="182D5A"/>
          </a:solidFill>
        </a:ln>
      </dgm:spPr>
      <dgm:t>
        <a:bodyPr/>
        <a:lstStyle/>
        <a:p>
          <a:r>
            <a:rPr lang="en-US" sz="2400" b="1" dirty="0" smtClean="0">
              <a:solidFill>
                <a:srgbClr val="FEFFDB"/>
              </a:solidFill>
            </a:rPr>
            <a:t>Career – Path Employment</a:t>
          </a:r>
        </a:p>
      </dgm:t>
    </dgm:pt>
    <dgm:pt modelId="{BFEFFBEA-717B-4FA2-95AC-FF843E602589}" type="parTrans" cxnId="{36502411-E854-40D0-AEB9-4455D5D8CE7E}">
      <dgm:prSet/>
      <dgm:spPr>
        <a:solidFill>
          <a:srgbClr val="182D5A"/>
        </a:solidFill>
      </dgm:spPr>
      <dgm:t>
        <a:bodyPr/>
        <a:lstStyle/>
        <a:p>
          <a:endParaRPr lang="en-US"/>
        </a:p>
      </dgm:t>
    </dgm:pt>
    <dgm:pt modelId="{C507B2EC-178B-4F4A-A1FA-AA8F6E9290B9}" type="sibTrans" cxnId="{36502411-E854-40D0-AEB9-4455D5D8CE7E}">
      <dgm:prSet/>
      <dgm:spPr/>
      <dgm:t>
        <a:bodyPr/>
        <a:lstStyle/>
        <a:p>
          <a:endParaRPr lang="en-US"/>
        </a:p>
      </dgm:t>
    </dgm:pt>
    <dgm:pt modelId="{0C5B3928-A8D9-41F5-81A6-B2C99891B028}">
      <dgm:prSet phldrT="[Text]" custT="1"/>
      <dgm:spPr>
        <a:solidFill>
          <a:srgbClr val="495E0A"/>
        </a:solidFill>
        <a:ln>
          <a:solidFill>
            <a:srgbClr val="182D5A"/>
          </a:solidFill>
        </a:ln>
      </dgm:spPr>
      <dgm:t>
        <a:bodyPr/>
        <a:lstStyle/>
        <a:p>
          <a:r>
            <a:rPr lang="en-US" sz="2400" b="1" dirty="0" smtClean="0">
              <a:solidFill>
                <a:srgbClr val="FEFFDB"/>
              </a:solidFill>
            </a:rPr>
            <a:t>Internships</a:t>
          </a:r>
        </a:p>
      </dgm:t>
    </dgm:pt>
    <dgm:pt modelId="{CD23117A-D8D6-435A-B9D6-A8F56DDB1388}" type="parTrans" cxnId="{819045DF-712A-4AE0-BCFA-612C2F40945C}">
      <dgm:prSet/>
      <dgm:spPr>
        <a:solidFill>
          <a:srgbClr val="182D5A"/>
        </a:solidFill>
      </dgm:spPr>
      <dgm:t>
        <a:bodyPr/>
        <a:lstStyle/>
        <a:p>
          <a:endParaRPr lang="en-US"/>
        </a:p>
      </dgm:t>
    </dgm:pt>
    <dgm:pt modelId="{FCCCC127-BF29-4387-A726-693F536C0E5C}" type="sibTrans" cxnId="{819045DF-712A-4AE0-BCFA-612C2F40945C}">
      <dgm:prSet/>
      <dgm:spPr/>
      <dgm:t>
        <a:bodyPr/>
        <a:lstStyle/>
        <a:p>
          <a:endParaRPr lang="en-US"/>
        </a:p>
      </dgm:t>
    </dgm:pt>
    <dgm:pt modelId="{F74A8671-E99A-4FFA-8955-454DD5E96F63}">
      <dgm:prSet phldrT="[Text]" custT="1"/>
      <dgm:spPr>
        <a:solidFill>
          <a:srgbClr val="495E0A"/>
        </a:solidFill>
        <a:ln>
          <a:solidFill>
            <a:srgbClr val="182D5A"/>
          </a:solidFill>
        </a:ln>
      </dgm:spPr>
      <dgm:t>
        <a:bodyPr/>
        <a:lstStyle/>
        <a:p>
          <a:r>
            <a:rPr lang="en-US" sz="2400" b="1" dirty="0" smtClean="0">
              <a:solidFill>
                <a:srgbClr val="FEFFDB"/>
              </a:solidFill>
            </a:rPr>
            <a:t>Targeted Skills Curriculum</a:t>
          </a:r>
          <a:endParaRPr lang="en-US" sz="1400" b="1" dirty="0" smtClean="0">
            <a:solidFill>
              <a:srgbClr val="FEFFDB"/>
            </a:solidFill>
          </a:endParaRPr>
        </a:p>
      </dgm:t>
    </dgm:pt>
    <dgm:pt modelId="{D561107C-A430-4815-9334-B1514FCB365E}" type="parTrans" cxnId="{4D005C03-F85D-4D4E-AC44-D09D4D820EE8}">
      <dgm:prSet/>
      <dgm:spPr>
        <a:solidFill>
          <a:srgbClr val="182D5A"/>
        </a:solidFill>
      </dgm:spPr>
      <dgm:t>
        <a:bodyPr/>
        <a:lstStyle/>
        <a:p>
          <a:endParaRPr lang="en-US"/>
        </a:p>
      </dgm:t>
    </dgm:pt>
    <dgm:pt modelId="{13E215C1-B6E9-4626-AA52-D66B7552661A}" type="sibTrans" cxnId="{4D005C03-F85D-4D4E-AC44-D09D4D820EE8}">
      <dgm:prSet/>
      <dgm:spPr/>
      <dgm:t>
        <a:bodyPr/>
        <a:lstStyle/>
        <a:p>
          <a:endParaRPr lang="en-US"/>
        </a:p>
      </dgm:t>
    </dgm:pt>
    <dgm:pt modelId="{DCA04D98-58CD-4A9C-8B6F-4C6D53B99BCD}" type="pres">
      <dgm:prSet presAssocID="{9FAA585F-FFAD-4718-A20A-9D974DCB44B2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33C9100-D9AE-4FCF-A578-0E0A129AD15D}" type="pres">
      <dgm:prSet presAssocID="{7D93B447-6C0A-453C-849A-3D3203E0F79C}" presName="centerShape" presStyleLbl="node0" presStyleIdx="0" presStyleCnt="1" custLinFactNeighborX="1675" custLinFactNeighborY="-20135"/>
      <dgm:spPr/>
      <dgm:t>
        <a:bodyPr/>
        <a:lstStyle/>
        <a:p>
          <a:endParaRPr lang="en-US"/>
        </a:p>
      </dgm:t>
    </dgm:pt>
    <dgm:pt modelId="{4E28D90F-8FCA-40E2-89C0-E1B8F0C39061}" type="pres">
      <dgm:prSet presAssocID="{026B93DE-403D-4FBA-8685-4A08C571B3A6}" presName="parTrans" presStyleLbl="sibTrans2D1" presStyleIdx="0" presStyleCnt="4"/>
      <dgm:spPr/>
      <dgm:t>
        <a:bodyPr/>
        <a:lstStyle/>
        <a:p>
          <a:endParaRPr lang="en-US"/>
        </a:p>
      </dgm:t>
    </dgm:pt>
    <dgm:pt modelId="{110D1261-F828-4D77-A398-0C63ED91041F}" type="pres">
      <dgm:prSet presAssocID="{026B93DE-403D-4FBA-8685-4A08C571B3A6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49590AD6-4EFA-4D24-B4CB-D0FF53E5BEE9}" type="pres">
      <dgm:prSet presAssocID="{EF906015-6958-4941-B0A7-2639F52B86EE}" presName="node" presStyleLbl="node1" presStyleIdx="0" presStyleCnt="4" custScaleX="136689" custScaleY="130037" custRadScaleRad="116384" custRadScaleInc="-2821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13337C-F0CC-4D31-8680-3A2FBF41666A}" type="pres">
      <dgm:prSet presAssocID="{BFEFFBEA-717B-4FA2-95AC-FF843E602589}" presName="parTrans" presStyleLbl="sibTrans2D1" presStyleIdx="1" presStyleCnt="4"/>
      <dgm:spPr/>
      <dgm:t>
        <a:bodyPr/>
        <a:lstStyle/>
        <a:p>
          <a:endParaRPr lang="en-US"/>
        </a:p>
      </dgm:t>
    </dgm:pt>
    <dgm:pt modelId="{0184E807-1D60-41A6-98CD-5447A3168BA3}" type="pres">
      <dgm:prSet presAssocID="{BFEFFBEA-717B-4FA2-95AC-FF843E602589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FF185282-1FE1-428D-8CB1-DA667B68C4EE}" type="pres">
      <dgm:prSet presAssocID="{CB882958-0350-4370-9809-75E89F350AB2}" presName="node" presStyleLbl="node1" presStyleIdx="1" presStyleCnt="4" custScaleX="177656" custScaleY="171285" custRadScaleRad="133711" custRadScaleInc="-3519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D24634-041F-40FF-B10F-314B8208520E}" type="pres">
      <dgm:prSet presAssocID="{CD23117A-D8D6-435A-B9D6-A8F56DDB1388}" presName="parTrans" presStyleLbl="sibTrans2D1" presStyleIdx="2" presStyleCnt="4"/>
      <dgm:spPr/>
      <dgm:t>
        <a:bodyPr/>
        <a:lstStyle/>
        <a:p>
          <a:endParaRPr lang="en-US"/>
        </a:p>
      </dgm:t>
    </dgm:pt>
    <dgm:pt modelId="{FC3E0DB7-F3EA-409E-AA1E-022B5C04660C}" type="pres">
      <dgm:prSet presAssocID="{CD23117A-D8D6-435A-B9D6-A8F56DDB1388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E7767502-AFA8-475D-BF1F-EE8290E8D288}" type="pres">
      <dgm:prSet presAssocID="{0C5B3928-A8D9-41F5-81A6-B2C99891B028}" presName="node" presStyleLbl="node1" presStyleIdx="2" presStyleCnt="4" custScaleX="148773" custScaleY="142293" custRadScaleRad="78421" custRadScaleInc="-5555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1CEF7E0-2030-4080-A4F7-A536C3E26E6F}" type="pres">
      <dgm:prSet presAssocID="{D561107C-A430-4815-9334-B1514FCB365E}" presName="parTrans" presStyleLbl="sibTrans2D1" presStyleIdx="3" presStyleCnt="4" custScaleX="124755"/>
      <dgm:spPr/>
      <dgm:t>
        <a:bodyPr/>
        <a:lstStyle/>
        <a:p>
          <a:endParaRPr lang="en-US"/>
        </a:p>
      </dgm:t>
    </dgm:pt>
    <dgm:pt modelId="{45169215-92BE-4D62-A52D-9F00D847CA33}" type="pres">
      <dgm:prSet presAssocID="{D561107C-A430-4815-9334-B1514FCB365E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D941F1C5-071C-48A6-9576-374165802330}" type="pres">
      <dgm:prSet presAssocID="{F74A8671-E99A-4FFA-8955-454DD5E96F63}" presName="node" presStyleLbl="node1" presStyleIdx="3" presStyleCnt="4" custScaleX="124837" custScaleY="125803" custRadScaleRad="139379" custRadScaleInc="3918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2E2CC20-1F87-49B7-9F37-EB381584A03E}" type="presOf" srcId="{BFEFFBEA-717B-4FA2-95AC-FF843E602589}" destId="{1313337C-F0CC-4D31-8680-3A2FBF41666A}" srcOrd="0" destOrd="0" presId="urn:microsoft.com/office/officeart/2005/8/layout/radial5"/>
    <dgm:cxn modelId="{05382871-D241-422C-8534-36D6FEEF1A6A}" type="presOf" srcId="{CD23117A-D8D6-435A-B9D6-A8F56DDB1388}" destId="{5FD24634-041F-40FF-B10F-314B8208520E}" srcOrd="0" destOrd="0" presId="urn:microsoft.com/office/officeart/2005/8/layout/radial5"/>
    <dgm:cxn modelId="{8D8C0F29-E045-4E74-A90D-76103BC603BE}" srcId="{7D93B447-6C0A-453C-849A-3D3203E0F79C}" destId="{EF906015-6958-4941-B0A7-2639F52B86EE}" srcOrd="0" destOrd="0" parTransId="{026B93DE-403D-4FBA-8685-4A08C571B3A6}" sibTransId="{26CFD6C0-A692-451A-AA6B-02313BB43A16}"/>
    <dgm:cxn modelId="{36502411-E854-40D0-AEB9-4455D5D8CE7E}" srcId="{7D93B447-6C0A-453C-849A-3D3203E0F79C}" destId="{CB882958-0350-4370-9809-75E89F350AB2}" srcOrd="1" destOrd="0" parTransId="{BFEFFBEA-717B-4FA2-95AC-FF843E602589}" sibTransId="{C507B2EC-178B-4F4A-A1FA-AA8F6E9290B9}"/>
    <dgm:cxn modelId="{6BFD9EA7-F4F4-4D2D-ACF0-0121C30E2C2C}" type="presOf" srcId="{9FAA585F-FFAD-4718-A20A-9D974DCB44B2}" destId="{DCA04D98-58CD-4A9C-8B6F-4C6D53B99BCD}" srcOrd="0" destOrd="0" presId="urn:microsoft.com/office/officeart/2005/8/layout/radial5"/>
    <dgm:cxn modelId="{4797AAE1-0DCA-4465-A58A-40D6815E1198}" srcId="{9FAA585F-FFAD-4718-A20A-9D974DCB44B2}" destId="{7D93B447-6C0A-453C-849A-3D3203E0F79C}" srcOrd="0" destOrd="0" parTransId="{D7440F32-FA9B-47B7-8B7C-5D721C861F75}" sibTransId="{66479E43-A8C6-44C1-94C0-51600238FDEC}"/>
    <dgm:cxn modelId="{93074053-4908-4B8F-BA76-1106AC8B1244}" type="presOf" srcId="{026B93DE-403D-4FBA-8685-4A08C571B3A6}" destId="{4E28D90F-8FCA-40E2-89C0-E1B8F0C39061}" srcOrd="0" destOrd="0" presId="urn:microsoft.com/office/officeart/2005/8/layout/radial5"/>
    <dgm:cxn modelId="{4155CEDA-C183-4FDB-8A68-5C9F893BAF5B}" type="presOf" srcId="{BFEFFBEA-717B-4FA2-95AC-FF843E602589}" destId="{0184E807-1D60-41A6-98CD-5447A3168BA3}" srcOrd="1" destOrd="0" presId="urn:microsoft.com/office/officeart/2005/8/layout/radial5"/>
    <dgm:cxn modelId="{B2FD30B4-1B2F-49C5-8D5E-453F6F7788BC}" type="presOf" srcId="{CB882958-0350-4370-9809-75E89F350AB2}" destId="{FF185282-1FE1-428D-8CB1-DA667B68C4EE}" srcOrd="0" destOrd="0" presId="urn:microsoft.com/office/officeart/2005/8/layout/radial5"/>
    <dgm:cxn modelId="{819045DF-712A-4AE0-BCFA-612C2F40945C}" srcId="{7D93B447-6C0A-453C-849A-3D3203E0F79C}" destId="{0C5B3928-A8D9-41F5-81A6-B2C99891B028}" srcOrd="2" destOrd="0" parTransId="{CD23117A-D8D6-435A-B9D6-A8F56DDB1388}" sibTransId="{FCCCC127-BF29-4387-A726-693F536C0E5C}"/>
    <dgm:cxn modelId="{620FA5A8-CBE7-4EF5-8D5B-4E4AF709872A}" type="presOf" srcId="{F74A8671-E99A-4FFA-8955-454DD5E96F63}" destId="{D941F1C5-071C-48A6-9576-374165802330}" srcOrd="0" destOrd="0" presId="urn:microsoft.com/office/officeart/2005/8/layout/radial5"/>
    <dgm:cxn modelId="{B47F9FC2-4F2E-4C0A-96D2-9E3AEB5ABEFC}" type="presOf" srcId="{CD23117A-D8D6-435A-B9D6-A8F56DDB1388}" destId="{FC3E0DB7-F3EA-409E-AA1E-022B5C04660C}" srcOrd="1" destOrd="0" presId="urn:microsoft.com/office/officeart/2005/8/layout/radial5"/>
    <dgm:cxn modelId="{4D005C03-F85D-4D4E-AC44-D09D4D820EE8}" srcId="{7D93B447-6C0A-453C-849A-3D3203E0F79C}" destId="{F74A8671-E99A-4FFA-8955-454DD5E96F63}" srcOrd="3" destOrd="0" parTransId="{D561107C-A430-4815-9334-B1514FCB365E}" sibTransId="{13E215C1-B6E9-4626-AA52-D66B7552661A}"/>
    <dgm:cxn modelId="{7E1A0B82-CD79-4248-BE4F-81414A3536EC}" type="presOf" srcId="{D561107C-A430-4815-9334-B1514FCB365E}" destId="{71CEF7E0-2030-4080-A4F7-A536C3E26E6F}" srcOrd="0" destOrd="0" presId="urn:microsoft.com/office/officeart/2005/8/layout/radial5"/>
    <dgm:cxn modelId="{E98DA009-2FC3-4E87-81F5-64F792D8C1F1}" type="presOf" srcId="{7D93B447-6C0A-453C-849A-3D3203E0F79C}" destId="{333C9100-D9AE-4FCF-A578-0E0A129AD15D}" srcOrd="0" destOrd="0" presId="urn:microsoft.com/office/officeart/2005/8/layout/radial5"/>
    <dgm:cxn modelId="{A8A19DEB-2DD5-4CA1-A74C-8D5E2EB511D4}" type="presOf" srcId="{EF906015-6958-4941-B0A7-2639F52B86EE}" destId="{49590AD6-4EFA-4D24-B4CB-D0FF53E5BEE9}" srcOrd="0" destOrd="0" presId="urn:microsoft.com/office/officeart/2005/8/layout/radial5"/>
    <dgm:cxn modelId="{CCCA97B0-1E85-42F4-BC7F-0AD5E90529E4}" type="presOf" srcId="{0C5B3928-A8D9-41F5-81A6-B2C99891B028}" destId="{E7767502-AFA8-475D-BF1F-EE8290E8D288}" srcOrd="0" destOrd="0" presId="urn:microsoft.com/office/officeart/2005/8/layout/radial5"/>
    <dgm:cxn modelId="{AC4BCA3A-00C3-444C-98CB-E7E7B434DD4D}" type="presOf" srcId="{026B93DE-403D-4FBA-8685-4A08C571B3A6}" destId="{110D1261-F828-4D77-A398-0C63ED91041F}" srcOrd="1" destOrd="0" presId="urn:microsoft.com/office/officeart/2005/8/layout/radial5"/>
    <dgm:cxn modelId="{333E8BDD-5C0B-4D49-A001-1AA485CB55DA}" type="presOf" srcId="{D561107C-A430-4815-9334-B1514FCB365E}" destId="{45169215-92BE-4D62-A52D-9F00D847CA33}" srcOrd="1" destOrd="0" presId="urn:microsoft.com/office/officeart/2005/8/layout/radial5"/>
    <dgm:cxn modelId="{FBF908A5-E9EF-4C60-9E46-99A8576927B0}" type="presParOf" srcId="{DCA04D98-58CD-4A9C-8B6F-4C6D53B99BCD}" destId="{333C9100-D9AE-4FCF-A578-0E0A129AD15D}" srcOrd="0" destOrd="0" presId="urn:microsoft.com/office/officeart/2005/8/layout/radial5"/>
    <dgm:cxn modelId="{F23985F8-07E7-4101-8F9C-D49CA3F894C7}" type="presParOf" srcId="{DCA04D98-58CD-4A9C-8B6F-4C6D53B99BCD}" destId="{4E28D90F-8FCA-40E2-89C0-E1B8F0C39061}" srcOrd="1" destOrd="0" presId="urn:microsoft.com/office/officeart/2005/8/layout/radial5"/>
    <dgm:cxn modelId="{D665BA98-F91D-47F5-9F89-3D0B87CF2769}" type="presParOf" srcId="{4E28D90F-8FCA-40E2-89C0-E1B8F0C39061}" destId="{110D1261-F828-4D77-A398-0C63ED91041F}" srcOrd="0" destOrd="0" presId="urn:microsoft.com/office/officeart/2005/8/layout/radial5"/>
    <dgm:cxn modelId="{C9B35059-2AEA-4A20-BABE-A1D370AF5BCC}" type="presParOf" srcId="{DCA04D98-58CD-4A9C-8B6F-4C6D53B99BCD}" destId="{49590AD6-4EFA-4D24-B4CB-D0FF53E5BEE9}" srcOrd="2" destOrd="0" presId="urn:microsoft.com/office/officeart/2005/8/layout/radial5"/>
    <dgm:cxn modelId="{D2A7E1C0-EFDE-46A1-BC70-80E6A9CD74C9}" type="presParOf" srcId="{DCA04D98-58CD-4A9C-8B6F-4C6D53B99BCD}" destId="{1313337C-F0CC-4D31-8680-3A2FBF41666A}" srcOrd="3" destOrd="0" presId="urn:microsoft.com/office/officeart/2005/8/layout/radial5"/>
    <dgm:cxn modelId="{8420B0AE-7668-4F66-B597-BCD3DB3CCB2C}" type="presParOf" srcId="{1313337C-F0CC-4D31-8680-3A2FBF41666A}" destId="{0184E807-1D60-41A6-98CD-5447A3168BA3}" srcOrd="0" destOrd="0" presId="urn:microsoft.com/office/officeart/2005/8/layout/radial5"/>
    <dgm:cxn modelId="{9AF0B508-B1BB-4D97-B770-AD95EE1A06F2}" type="presParOf" srcId="{DCA04D98-58CD-4A9C-8B6F-4C6D53B99BCD}" destId="{FF185282-1FE1-428D-8CB1-DA667B68C4EE}" srcOrd="4" destOrd="0" presId="urn:microsoft.com/office/officeart/2005/8/layout/radial5"/>
    <dgm:cxn modelId="{47D3E18B-A721-4C86-AAA2-752C8722C323}" type="presParOf" srcId="{DCA04D98-58CD-4A9C-8B6F-4C6D53B99BCD}" destId="{5FD24634-041F-40FF-B10F-314B8208520E}" srcOrd="5" destOrd="0" presId="urn:microsoft.com/office/officeart/2005/8/layout/radial5"/>
    <dgm:cxn modelId="{42D1D0A3-A9F3-4412-AC39-152EFD8BAB2A}" type="presParOf" srcId="{5FD24634-041F-40FF-B10F-314B8208520E}" destId="{FC3E0DB7-F3EA-409E-AA1E-022B5C04660C}" srcOrd="0" destOrd="0" presId="urn:microsoft.com/office/officeart/2005/8/layout/radial5"/>
    <dgm:cxn modelId="{BA3AA579-E8EC-4FC6-8F2E-55E6EA16C713}" type="presParOf" srcId="{DCA04D98-58CD-4A9C-8B6F-4C6D53B99BCD}" destId="{E7767502-AFA8-475D-BF1F-EE8290E8D288}" srcOrd="6" destOrd="0" presId="urn:microsoft.com/office/officeart/2005/8/layout/radial5"/>
    <dgm:cxn modelId="{ED717909-17B5-4C47-ADB1-8FD437DC35E1}" type="presParOf" srcId="{DCA04D98-58CD-4A9C-8B6F-4C6D53B99BCD}" destId="{71CEF7E0-2030-4080-A4F7-A536C3E26E6F}" srcOrd="7" destOrd="0" presId="urn:microsoft.com/office/officeart/2005/8/layout/radial5"/>
    <dgm:cxn modelId="{0456993B-8CC4-495A-BBD7-D7E6487F1514}" type="presParOf" srcId="{71CEF7E0-2030-4080-A4F7-A536C3E26E6F}" destId="{45169215-92BE-4D62-A52D-9F00D847CA33}" srcOrd="0" destOrd="0" presId="urn:microsoft.com/office/officeart/2005/8/layout/radial5"/>
    <dgm:cxn modelId="{63C4A259-78BA-463A-98C5-890A3AACD3FD}" type="presParOf" srcId="{DCA04D98-58CD-4A9C-8B6F-4C6D53B99BCD}" destId="{D941F1C5-071C-48A6-9576-374165802330}" srcOrd="8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DA8D2B7-ABE6-4971-A320-708949BD8505}" type="doc">
      <dgm:prSet loTypeId="urn:microsoft.com/office/officeart/2005/8/layout/default#1" loCatId="list" qsTypeId="urn:microsoft.com/office/officeart/2005/8/quickstyle/3d3" qsCatId="3D" csTypeId="urn:microsoft.com/office/officeart/2005/8/colors/colorful1#3" csCatId="colorful" phldr="1"/>
      <dgm:spPr/>
      <dgm:t>
        <a:bodyPr/>
        <a:lstStyle/>
        <a:p>
          <a:endParaRPr lang="en-US"/>
        </a:p>
      </dgm:t>
    </dgm:pt>
    <dgm:pt modelId="{3230774D-894D-4547-9804-C7A059B39958}">
      <dgm:prSet phldrT="[Text]" custT="1"/>
      <dgm:spPr/>
      <dgm:t>
        <a:bodyPr anchor="t" anchorCtr="0"/>
        <a:lstStyle/>
        <a:p>
          <a:pPr algn="l"/>
          <a:r>
            <a:rPr lang="en-US" sz="2800" b="0" dirty="0" smtClean="0">
              <a:latin typeface="Cambria" panose="02040503050406030204" pitchFamily="18" charset="0"/>
            </a:rPr>
            <a:t>Compliance</a:t>
          </a:r>
          <a:endParaRPr lang="en-US" sz="2800" b="0" dirty="0">
            <a:latin typeface="Cambria" panose="02040503050406030204" pitchFamily="18" charset="0"/>
          </a:endParaRPr>
        </a:p>
      </dgm:t>
    </dgm:pt>
    <dgm:pt modelId="{1AF1BE40-773C-474D-86B0-4A68250A3C0B}" type="parTrans" cxnId="{008ADC46-4FE9-4B29-BAC0-B26439B986CF}">
      <dgm:prSet/>
      <dgm:spPr/>
      <dgm:t>
        <a:bodyPr/>
        <a:lstStyle/>
        <a:p>
          <a:endParaRPr lang="en-US"/>
        </a:p>
      </dgm:t>
    </dgm:pt>
    <dgm:pt modelId="{A663B866-837B-4846-9ED3-6F440D279C2E}" type="sibTrans" cxnId="{008ADC46-4FE9-4B29-BAC0-B26439B986CF}">
      <dgm:prSet/>
      <dgm:spPr/>
      <dgm:t>
        <a:bodyPr/>
        <a:lstStyle/>
        <a:p>
          <a:endParaRPr lang="en-US"/>
        </a:p>
      </dgm:t>
    </dgm:pt>
    <dgm:pt modelId="{74755F8C-BAE5-49EF-85E5-D182E281057E}">
      <dgm:prSet phldrT="[Text]" custT="1"/>
      <dgm:spPr/>
      <dgm:t>
        <a:bodyPr anchor="t" anchorCtr="0"/>
        <a:lstStyle/>
        <a:p>
          <a:pPr algn="r"/>
          <a:r>
            <a:rPr lang="en-US" sz="2800" b="0" dirty="0" smtClean="0">
              <a:latin typeface="Cambria" panose="02040503050406030204" pitchFamily="18" charset="0"/>
            </a:rPr>
            <a:t>Business Objectives</a:t>
          </a:r>
          <a:endParaRPr lang="en-US" sz="2800" b="0" dirty="0">
            <a:latin typeface="Cambria" panose="02040503050406030204" pitchFamily="18" charset="0"/>
          </a:endParaRPr>
        </a:p>
      </dgm:t>
    </dgm:pt>
    <dgm:pt modelId="{B579088E-A0BD-4D7A-B9A5-E3E5F3958F85}" type="parTrans" cxnId="{B1DDC42E-D372-43E6-9DB2-944016BDB3F9}">
      <dgm:prSet/>
      <dgm:spPr/>
      <dgm:t>
        <a:bodyPr/>
        <a:lstStyle/>
        <a:p>
          <a:endParaRPr lang="en-US"/>
        </a:p>
      </dgm:t>
    </dgm:pt>
    <dgm:pt modelId="{E807B94D-54D8-4729-94E7-E8C60DFAE5A9}" type="sibTrans" cxnId="{B1DDC42E-D372-43E6-9DB2-944016BDB3F9}">
      <dgm:prSet/>
      <dgm:spPr/>
      <dgm:t>
        <a:bodyPr/>
        <a:lstStyle/>
        <a:p>
          <a:endParaRPr lang="en-US"/>
        </a:p>
      </dgm:t>
    </dgm:pt>
    <dgm:pt modelId="{EC7043D2-1EE0-46E9-A8AD-74B2FAAE3180}">
      <dgm:prSet phldrT="[Text]" custT="1"/>
      <dgm:spPr/>
      <dgm:t>
        <a:bodyPr anchor="b" anchorCtr="0"/>
        <a:lstStyle/>
        <a:p>
          <a:pPr algn="r"/>
          <a:r>
            <a:rPr lang="en-US" sz="2800" b="0" dirty="0" smtClean="0">
              <a:latin typeface="+mj-lt"/>
            </a:rPr>
            <a:t>Value of Diversity</a:t>
          </a:r>
          <a:endParaRPr lang="en-US" sz="2800" b="0" dirty="0">
            <a:latin typeface="+mj-lt"/>
          </a:endParaRPr>
        </a:p>
      </dgm:t>
    </dgm:pt>
    <dgm:pt modelId="{6FF14A57-24AD-40A3-93EB-926C0CFCD4C4}" type="parTrans" cxnId="{3BEAC1A1-9119-4C15-9A3D-8D95083401F0}">
      <dgm:prSet/>
      <dgm:spPr/>
      <dgm:t>
        <a:bodyPr/>
        <a:lstStyle/>
        <a:p>
          <a:endParaRPr lang="en-US"/>
        </a:p>
      </dgm:t>
    </dgm:pt>
    <dgm:pt modelId="{3D4E95B8-1AC4-4B60-A53E-5520BFA048A9}" type="sibTrans" cxnId="{3BEAC1A1-9119-4C15-9A3D-8D95083401F0}">
      <dgm:prSet/>
      <dgm:spPr/>
      <dgm:t>
        <a:bodyPr/>
        <a:lstStyle/>
        <a:p>
          <a:endParaRPr lang="en-US"/>
        </a:p>
      </dgm:t>
    </dgm:pt>
    <dgm:pt modelId="{142E6C36-71D0-4EF7-85BD-77467E610031}">
      <dgm:prSet phldrT="[Text]" custT="1"/>
      <dgm:spPr/>
      <dgm:t>
        <a:bodyPr anchor="b" anchorCtr="0"/>
        <a:lstStyle/>
        <a:p>
          <a:pPr algn="l"/>
          <a:r>
            <a:rPr lang="en-US" sz="2800" b="0" dirty="0" smtClean="0">
              <a:latin typeface="Cambria" panose="02040503050406030204" pitchFamily="18" charset="0"/>
            </a:rPr>
            <a:t>Performance </a:t>
          </a:r>
        </a:p>
        <a:p>
          <a:pPr algn="l"/>
          <a:r>
            <a:rPr lang="en-US" sz="2800" b="0" dirty="0" smtClean="0">
              <a:latin typeface="Cambria" panose="02040503050406030204" pitchFamily="18" charset="0"/>
            </a:rPr>
            <a:t>w/ Purpose</a:t>
          </a:r>
          <a:endParaRPr lang="en-US" sz="2800" b="0" dirty="0">
            <a:latin typeface="Cambria" panose="02040503050406030204" pitchFamily="18" charset="0"/>
          </a:endParaRPr>
        </a:p>
      </dgm:t>
    </dgm:pt>
    <dgm:pt modelId="{67C626F0-E16E-42DB-A5B0-013863F362B4}" type="parTrans" cxnId="{E02B2B4A-F62F-4D80-BE8E-911283DC5617}">
      <dgm:prSet/>
      <dgm:spPr/>
      <dgm:t>
        <a:bodyPr/>
        <a:lstStyle/>
        <a:p>
          <a:endParaRPr lang="en-US"/>
        </a:p>
      </dgm:t>
    </dgm:pt>
    <dgm:pt modelId="{B0D0A68D-C0B6-4D81-8CF3-88FAF4FE1F81}" type="sibTrans" cxnId="{E02B2B4A-F62F-4D80-BE8E-911283DC5617}">
      <dgm:prSet/>
      <dgm:spPr/>
      <dgm:t>
        <a:bodyPr/>
        <a:lstStyle/>
        <a:p>
          <a:endParaRPr lang="en-US"/>
        </a:p>
      </dgm:t>
    </dgm:pt>
    <dgm:pt modelId="{C1B23885-9556-42DA-A2D5-EFC891F823F6}" type="pres">
      <dgm:prSet presAssocID="{7DA8D2B7-ABE6-4971-A320-708949BD850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7F558AD-B1AD-4225-8481-837EE0AE64A5}" type="pres">
      <dgm:prSet presAssocID="{3230774D-894D-4547-9804-C7A059B39958}" presName="node" presStyleLbl="node1" presStyleIdx="0" presStyleCnt="4" custLinFactNeighborX="3779" custLinFactNeighborY="907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1AC30CA-06E8-416B-94C2-DD58EF464B5F}" type="pres">
      <dgm:prSet presAssocID="{A663B866-837B-4846-9ED3-6F440D279C2E}" presName="sibTrans" presStyleCnt="0"/>
      <dgm:spPr/>
      <dgm:t>
        <a:bodyPr/>
        <a:lstStyle/>
        <a:p>
          <a:endParaRPr lang="en-US"/>
        </a:p>
      </dgm:t>
    </dgm:pt>
    <dgm:pt modelId="{ADB339B9-F5FF-49C8-8D94-315CC7104F53}" type="pres">
      <dgm:prSet presAssocID="{74755F8C-BAE5-49EF-85E5-D182E281057E}" presName="node" presStyleLbl="node1" presStyleIdx="1" presStyleCnt="4" custLinFactNeighborX="-5188" custLinFactNeighborY="723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0F9DFF-9ED4-41E0-8757-3AF20BFAC1A5}" type="pres">
      <dgm:prSet presAssocID="{E807B94D-54D8-4729-94E7-E8C60DFAE5A9}" presName="sibTrans" presStyleCnt="0"/>
      <dgm:spPr/>
      <dgm:t>
        <a:bodyPr/>
        <a:lstStyle/>
        <a:p>
          <a:endParaRPr lang="en-US"/>
        </a:p>
      </dgm:t>
    </dgm:pt>
    <dgm:pt modelId="{CBA8419A-0EFC-448C-A57C-86E6A5DC39CA}" type="pres">
      <dgm:prSet presAssocID="{142E6C36-71D0-4EF7-85BD-77467E610031}" presName="node" presStyleLbl="node1" presStyleIdx="2" presStyleCnt="4" custLinFactNeighborX="3779" custLinFactNeighborY="-985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7F4299-555B-45AC-AC60-8771197DB2CF}" type="pres">
      <dgm:prSet presAssocID="{B0D0A68D-C0B6-4D81-8CF3-88FAF4FE1F81}" presName="sibTrans" presStyleCnt="0"/>
      <dgm:spPr/>
      <dgm:t>
        <a:bodyPr/>
        <a:lstStyle/>
        <a:p>
          <a:endParaRPr lang="en-US"/>
        </a:p>
      </dgm:t>
    </dgm:pt>
    <dgm:pt modelId="{2FF06B86-175C-409C-81E8-4FFBE2B3D89F}" type="pres">
      <dgm:prSet presAssocID="{EC7043D2-1EE0-46E9-A8AD-74B2FAAE3180}" presName="node" presStyleLbl="node1" presStyleIdx="3" presStyleCnt="4" custLinFactNeighborX="-5534" custLinFactNeighborY="-1019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0302775-4447-4FEB-99C8-219A0C9E2DE7}" type="presOf" srcId="{74755F8C-BAE5-49EF-85E5-D182E281057E}" destId="{ADB339B9-F5FF-49C8-8D94-315CC7104F53}" srcOrd="0" destOrd="0" presId="urn:microsoft.com/office/officeart/2005/8/layout/default#1"/>
    <dgm:cxn modelId="{252BEB01-EEA9-4F70-968B-1F8655874112}" type="presOf" srcId="{7DA8D2B7-ABE6-4971-A320-708949BD8505}" destId="{C1B23885-9556-42DA-A2D5-EFC891F823F6}" srcOrd="0" destOrd="0" presId="urn:microsoft.com/office/officeart/2005/8/layout/default#1"/>
    <dgm:cxn modelId="{A1ACA560-4F02-4018-BE08-624A2E444965}" type="presOf" srcId="{EC7043D2-1EE0-46E9-A8AD-74B2FAAE3180}" destId="{2FF06B86-175C-409C-81E8-4FFBE2B3D89F}" srcOrd="0" destOrd="0" presId="urn:microsoft.com/office/officeart/2005/8/layout/default#1"/>
    <dgm:cxn modelId="{E6CCDC6A-3F46-4F03-A8B7-9F1A7707C4BA}" type="presOf" srcId="{142E6C36-71D0-4EF7-85BD-77467E610031}" destId="{CBA8419A-0EFC-448C-A57C-86E6A5DC39CA}" srcOrd="0" destOrd="0" presId="urn:microsoft.com/office/officeart/2005/8/layout/default#1"/>
    <dgm:cxn modelId="{30C8066E-FA57-4320-8B34-4BD38E28CD02}" type="presOf" srcId="{3230774D-894D-4547-9804-C7A059B39958}" destId="{F7F558AD-B1AD-4225-8481-837EE0AE64A5}" srcOrd="0" destOrd="0" presId="urn:microsoft.com/office/officeart/2005/8/layout/default#1"/>
    <dgm:cxn modelId="{B1DDC42E-D372-43E6-9DB2-944016BDB3F9}" srcId="{7DA8D2B7-ABE6-4971-A320-708949BD8505}" destId="{74755F8C-BAE5-49EF-85E5-D182E281057E}" srcOrd="1" destOrd="0" parTransId="{B579088E-A0BD-4D7A-B9A5-E3E5F3958F85}" sibTransId="{E807B94D-54D8-4729-94E7-E8C60DFAE5A9}"/>
    <dgm:cxn modelId="{008ADC46-4FE9-4B29-BAC0-B26439B986CF}" srcId="{7DA8D2B7-ABE6-4971-A320-708949BD8505}" destId="{3230774D-894D-4547-9804-C7A059B39958}" srcOrd="0" destOrd="0" parTransId="{1AF1BE40-773C-474D-86B0-4A68250A3C0B}" sibTransId="{A663B866-837B-4846-9ED3-6F440D279C2E}"/>
    <dgm:cxn modelId="{E02B2B4A-F62F-4D80-BE8E-911283DC5617}" srcId="{7DA8D2B7-ABE6-4971-A320-708949BD8505}" destId="{142E6C36-71D0-4EF7-85BD-77467E610031}" srcOrd="2" destOrd="0" parTransId="{67C626F0-E16E-42DB-A5B0-013863F362B4}" sibTransId="{B0D0A68D-C0B6-4D81-8CF3-88FAF4FE1F81}"/>
    <dgm:cxn modelId="{3BEAC1A1-9119-4C15-9A3D-8D95083401F0}" srcId="{7DA8D2B7-ABE6-4971-A320-708949BD8505}" destId="{EC7043D2-1EE0-46E9-A8AD-74B2FAAE3180}" srcOrd="3" destOrd="0" parTransId="{6FF14A57-24AD-40A3-93EB-926C0CFCD4C4}" sibTransId="{3D4E95B8-1AC4-4B60-A53E-5520BFA048A9}"/>
    <dgm:cxn modelId="{1CE1CF7D-FA70-4CC1-8BCB-D8FA518FAA5E}" type="presParOf" srcId="{C1B23885-9556-42DA-A2D5-EFC891F823F6}" destId="{F7F558AD-B1AD-4225-8481-837EE0AE64A5}" srcOrd="0" destOrd="0" presId="urn:microsoft.com/office/officeart/2005/8/layout/default#1"/>
    <dgm:cxn modelId="{3E1C8B15-A768-459D-BFD8-5FC2B10116E9}" type="presParOf" srcId="{C1B23885-9556-42DA-A2D5-EFC891F823F6}" destId="{C1AC30CA-06E8-416B-94C2-DD58EF464B5F}" srcOrd="1" destOrd="0" presId="urn:microsoft.com/office/officeart/2005/8/layout/default#1"/>
    <dgm:cxn modelId="{B16382A7-527C-45AC-BD76-0ADC25312850}" type="presParOf" srcId="{C1B23885-9556-42DA-A2D5-EFC891F823F6}" destId="{ADB339B9-F5FF-49C8-8D94-315CC7104F53}" srcOrd="2" destOrd="0" presId="urn:microsoft.com/office/officeart/2005/8/layout/default#1"/>
    <dgm:cxn modelId="{2B24EB0F-E84F-4044-8CF2-0F8B336AAC23}" type="presParOf" srcId="{C1B23885-9556-42DA-A2D5-EFC891F823F6}" destId="{420F9DFF-9ED4-41E0-8757-3AF20BFAC1A5}" srcOrd="3" destOrd="0" presId="urn:microsoft.com/office/officeart/2005/8/layout/default#1"/>
    <dgm:cxn modelId="{BEB195CC-8F93-4CF8-BD0A-3F9D3890F2A3}" type="presParOf" srcId="{C1B23885-9556-42DA-A2D5-EFC891F823F6}" destId="{CBA8419A-0EFC-448C-A57C-86E6A5DC39CA}" srcOrd="4" destOrd="0" presId="urn:microsoft.com/office/officeart/2005/8/layout/default#1"/>
    <dgm:cxn modelId="{177C4DCA-B73B-46D8-9EA3-6CA6DF472F7B}" type="presParOf" srcId="{C1B23885-9556-42DA-A2D5-EFC891F823F6}" destId="{D87F4299-555B-45AC-AC60-8771197DB2CF}" srcOrd="5" destOrd="0" presId="urn:microsoft.com/office/officeart/2005/8/layout/default#1"/>
    <dgm:cxn modelId="{2A8434D8-733E-4477-963A-132B5C89F28A}" type="presParOf" srcId="{C1B23885-9556-42DA-A2D5-EFC891F823F6}" destId="{2FF06B86-175C-409C-81E8-4FFBE2B3D89F}" srcOrd="6" destOrd="0" presId="urn:microsoft.com/office/officeart/2005/8/layout/default#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77868B-5F69-0D41-9A0F-6D08B4669585}">
      <dsp:nvSpPr>
        <dsp:cNvPr id="0" name=""/>
        <dsp:cNvSpPr/>
      </dsp:nvSpPr>
      <dsp:spPr>
        <a:xfrm>
          <a:off x="2763" y="543528"/>
          <a:ext cx="748161" cy="68035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solidFill>
                <a:schemeClr val="tx1"/>
              </a:solidFill>
            </a:rPr>
            <a:t>Community Groups</a:t>
          </a:r>
          <a:endParaRPr lang="en-US" sz="1000" kern="1200" dirty="0">
            <a:solidFill>
              <a:schemeClr val="tx1"/>
            </a:solidFill>
          </a:endParaRPr>
        </a:p>
      </dsp:txBody>
      <dsp:txXfrm>
        <a:off x="22690" y="563455"/>
        <a:ext cx="708307" cy="640505"/>
      </dsp:txXfrm>
    </dsp:sp>
    <dsp:sp modelId="{1C33F16C-EE41-F84A-9731-D9023350E254}">
      <dsp:nvSpPr>
        <dsp:cNvPr id="0" name=""/>
        <dsp:cNvSpPr/>
      </dsp:nvSpPr>
      <dsp:spPr>
        <a:xfrm>
          <a:off x="825741" y="790936"/>
          <a:ext cx="158610" cy="18554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>
            <a:solidFill>
              <a:schemeClr val="tx1"/>
            </a:solidFill>
          </a:endParaRPr>
        </a:p>
      </dsp:txBody>
      <dsp:txXfrm>
        <a:off x="825741" y="828045"/>
        <a:ext cx="111027" cy="111326"/>
      </dsp:txXfrm>
    </dsp:sp>
    <dsp:sp modelId="{35610830-AC9C-D944-8C38-C6A73D2FFCFA}">
      <dsp:nvSpPr>
        <dsp:cNvPr id="0" name=""/>
        <dsp:cNvSpPr/>
      </dsp:nvSpPr>
      <dsp:spPr>
        <a:xfrm>
          <a:off x="1050190" y="543528"/>
          <a:ext cx="748161" cy="68035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solidFill>
                <a:schemeClr val="tx1"/>
              </a:solidFill>
            </a:rPr>
            <a:t>Businesses &amp; Employer Networks</a:t>
          </a:r>
          <a:endParaRPr lang="en-US" sz="1000" kern="1200" dirty="0">
            <a:solidFill>
              <a:schemeClr val="tx1"/>
            </a:solidFill>
          </a:endParaRPr>
        </a:p>
      </dsp:txBody>
      <dsp:txXfrm>
        <a:off x="1070117" y="563455"/>
        <a:ext cx="708307" cy="640505"/>
      </dsp:txXfrm>
    </dsp:sp>
    <dsp:sp modelId="{518150F2-386F-8243-949E-9C7C99D8C7C6}">
      <dsp:nvSpPr>
        <dsp:cNvPr id="0" name=""/>
        <dsp:cNvSpPr/>
      </dsp:nvSpPr>
      <dsp:spPr>
        <a:xfrm>
          <a:off x="1873168" y="790936"/>
          <a:ext cx="158610" cy="18554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>
            <a:solidFill>
              <a:schemeClr val="tx1"/>
            </a:solidFill>
          </a:endParaRPr>
        </a:p>
      </dsp:txBody>
      <dsp:txXfrm>
        <a:off x="1873168" y="828045"/>
        <a:ext cx="111027" cy="111326"/>
      </dsp:txXfrm>
    </dsp:sp>
    <dsp:sp modelId="{42C76C49-C7E0-2C41-8497-C684C9B1A2F5}">
      <dsp:nvSpPr>
        <dsp:cNvPr id="0" name=""/>
        <dsp:cNvSpPr/>
      </dsp:nvSpPr>
      <dsp:spPr>
        <a:xfrm>
          <a:off x="2097617" y="543528"/>
          <a:ext cx="748161" cy="68035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solidFill>
                <a:schemeClr val="tx1"/>
              </a:solidFill>
            </a:rPr>
            <a:t>Civic Groups</a:t>
          </a:r>
          <a:endParaRPr lang="en-US" sz="1000" kern="1200" dirty="0">
            <a:solidFill>
              <a:schemeClr val="tx1"/>
            </a:solidFill>
          </a:endParaRPr>
        </a:p>
      </dsp:txBody>
      <dsp:txXfrm>
        <a:off x="2117544" y="563455"/>
        <a:ext cx="708307" cy="640505"/>
      </dsp:txXfrm>
    </dsp:sp>
    <dsp:sp modelId="{BAE0C10A-D7BB-264A-BAF5-4299EE870EF7}">
      <dsp:nvSpPr>
        <dsp:cNvPr id="0" name=""/>
        <dsp:cNvSpPr/>
      </dsp:nvSpPr>
      <dsp:spPr>
        <a:xfrm>
          <a:off x="2920595" y="790936"/>
          <a:ext cx="158610" cy="18554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>
            <a:solidFill>
              <a:schemeClr val="tx1"/>
            </a:solidFill>
          </a:endParaRPr>
        </a:p>
      </dsp:txBody>
      <dsp:txXfrm>
        <a:off x="2920595" y="828045"/>
        <a:ext cx="111027" cy="111326"/>
      </dsp:txXfrm>
    </dsp:sp>
    <dsp:sp modelId="{905214EB-6857-BE4E-89B6-F7DCD050E8B3}">
      <dsp:nvSpPr>
        <dsp:cNvPr id="0" name=""/>
        <dsp:cNvSpPr/>
      </dsp:nvSpPr>
      <dsp:spPr>
        <a:xfrm>
          <a:off x="3145043" y="543528"/>
          <a:ext cx="748161" cy="68035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solidFill>
                <a:schemeClr val="tx1"/>
              </a:solidFill>
            </a:rPr>
            <a:t>Non-Profits</a:t>
          </a:r>
        </a:p>
      </dsp:txBody>
      <dsp:txXfrm>
        <a:off x="3164970" y="563455"/>
        <a:ext cx="708307" cy="640505"/>
      </dsp:txXfrm>
    </dsp:sp>
    <dsp:sp modelId="{24CC3D0B-D2B4-9F4A-A732-56009FE71DB9}">
      <dsp:nvSpPr>
        <dsp:cNvPr id="0" name=""/>
        <dsp:cNvSpPr/>
      </dsp:nvSpPr>
      <dsp:spPr>
        <a:xfrm>
          <a:off x="3968021" y="790936"/>
          <a:ext cx="158610" cy="18554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>
            <a:solidFill>
              <a:schemeClr val="tx1"/>
            </a:solidFill>
          </a:endParaRPr>
        </a:p>
      </dsp:txBody>
      <dsp:txXfrm>
        <a:off x="3968021" y="828045"/>
        <a:ext cx="111027" cy="111326"/>
      </dsp:txXfrm>
    </dsp:sp>
    <dsp:sp modelId="{CF985859-72CD-2A4D-AF78-6541520A56C8}">
      <dsp:nvSpPr>
        <dsp:cNvPr id="0" name=""/>
        <dsp:cNvSpPr/>
      </dsp:nvSpPr>
      <dsp:spPr>
        <a:xfrm>
          <a:off x="4192470" y="543528"/>
          <a:ext cx="748161" cy="68035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solidFill>
                <a:schemeClr val="tx1"/>
              </a:solidFill>
            </a:rPr>
            <a:t>Other Churches  Synagogues Mosques</a:t>
          </a:r>
          <a:endParaRPr lang="en-US" sz="1000" kern="1200" dirty="0">
            <a:solidFill>
              <a:schemeClr val="tx1"/>
            </a:solidFill>
          </a:endParaRPr>
        </a:p>
      </dsp:txBody>
      <dsp:txXfrm>
        <a:off x="4212397" y="563455"/>
        <a:ext cx="708307" cy="640505"/>
      </dsp:txXfrm>
    </dsp:sp>
    <dsp:sp modelId="{A7A6C251-4146-5E49-ACD4-823D203A062E}">
      <dsp:nvSpPr>
        <dsp:cNvPr id="0" name=""/>
        <dsp:cNvSpPr/>
      </dsp:nvSpPr>
      <dsp:spPr>
        <a:xfrm>
          <a:off x="5015448" y="790936"/>
          <a:ext cx="158610" cy="18554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>
            <a:solidFill>
              <a:schemeClr val="tx1"/>
            </a:solidFill>
          </a:endParaRPr>
        </a:p>
      </dsp:txBody>
      <dsp:txXfrm>
        <a:off x="5015448" y="828045"/>
        <a:ext cx="111027" cy="111326"/>
      </dsp:txXfrm>
    </dsp:sp>
    <dsp:sp modelId="{B295A64E-B66F-C944-9168-8AF39C9022B4}">
      <dsp:nvSpPr>
        <dsp:cNvPr id="0" name=""/>
        <dsp:cNvSpPr/>
      </dsp:nvSpPr>
      <dsp:spPr>
        <a:xfrm>
          <a:off x="5239897" y="543528"/>
          <a:ext cx="748161" cy="68035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solidFill>
                <a:schemeClr val="tx1"/>
              </a:solidFill>
            </a:rPr>
            <a:t>Schools and Colleges</a:t>
          </a:r>
          <a:endParaRPr lang="en-US" sz="1000" kern="1200" dirty="0">
            <a:solidFill>
              <a:schemeClr val="tx1"/>
            </a:solidFill>
          </a:endParaRPr>
        </a:p>
      </dsp:txBody>
      <dsp:txXfrm>
        <a:off x="5259824" y="563455"/>
        <a:ext cx="708307" cy="640505"/>
      </dsp:txXfrm>
    </dsp:sp>
    <dsp:sp modelId="{354F998D-29D3-D848-AEBD-A79101EB562A}">
      <dsp:nvSpPr>
        <dsp:cNvPr id="0" name=""/>
        <dsp:cNvSpPr/>
      </dsp:nvSpPr>
      <dsp:spPr>
        <a:xfrm>
          <a:off x="6062875" y="790936"/>
          <a:ext cx="158610" cy="18554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>
            <a:solidFill>
              <a:schemeClr val="tx1"/>
            </a:solidFill>
          </a:endParaRPr>
        </a:p>
      </dsp:txBody>
      <dsp:txXfrm>
        <a:off x="6062875" y="828045"/>
        <a:ext cx="111027" cy="111326"/>
      </dsp:txXfrm>
    </dsp:sp>
    <dsp:sp modelId="{D0E51000-73D3-744E-B575-4AE7CCDA0123}">
      <dsp:nvSpPr>
        <dsp:cNvPr id="0" name=""/>
        <dsp:cNvSpPr/>
      </dsp:nvSpPr>
      <dsp:spPr>
        <a:xfrm>
          <a:off x="6287323" y="543528"/>
          <a:ext cx="748161" cy="68035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solidFill>
                <a:schemeClr val="tx1"/>
              </a:solidFill>
            </a:rPr>
            <a:t>Friends &amp; Relatives</a:t>
          </a:r>
          <a:endParaRPr lang="en-US" sz="1000" kern="1200" dirty="0">
            <a:solidFill>
              <a:schemeClr val="tx1"/>
            </a:solidFill>
          </a:endParaRPr>
        </a:p>
      </dsp:txBody>
      <dsp:txXfrm>
        <a:off x="6307250" y="563455"/>
        <a:ext cx="708307" cy="640505"/>
      </dsp:txXfrm>
    </dsp:sp>
    <dsp:sp modelId="{F881ED90-C7D5-8842-BA3B-726BC543D2C4}">
      <dsp:nvSpPr>
        <dsp:cNvPr id="0" name=""/>
        <dsp:cNvSpPr/>
      </dsp:nvSpPr>
      <dsp:spPr>
        <a:xfrm>
          <a:off x="7110301" y="790936"/>
          <a:ext cx="158610" cy="18554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>
            <a:solidFill>
              <a:schemeClr val="tx1"/>
            </a:solidFill>
          </a:endParaRPr>
        </a:p>
      </dsp:txBody>
      <dsp:txXfrm>
        <a:off x="7110301" y="828045"/>
        <a:ext cx="111027" cy="111326"/>
      </dsp:txXfrm>
    </dsp:sp>
    <dsp:sp modelId="{4E1F84DB-102F-5648-8353-BA30A69954FE}">
      <dsp:nvSpPr>
        <dsp:cNvPr id="0" name=""/>
        <dsp:cNvSpPr/>
      </dsp:nvSpPr>
      <dsp:spPr>
        <a:xfrm>
          <a:off x="7334750" y="543528"/>
          <a:ext cx="748161" cy="68035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>
              <a:solidFill>
                <a:schemeClr val="tx1"/>
              </a:solidFill>
            </a:rPr>
            <a:t>Other Associa-tions</a:t>
          </a:r>
          <a:endParaRPr lang="en-US" sz="1000" kern="1200" dirty="0">
            <a:solidFill>
              <a:schemeClr val="tx1"/>
            </a:solidFill>
          </a:endParaRPr>
        </a:p>
      </dsp:txBody>
      <dsp:txXfrm>
        <a:off x="7354677" y="563455"/>
        <a:ext cx="708307" cy="64050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3C9100-D9AE-4FCF-A578-0E0A129AD15D}">
      <dsp:nvSpPr>
        <dsp:cNvPr id="0" name=""/>
        <dsp:cNvSpPr/>
      </dsp:nvSpPr>
      <dsp:spPr>
        <a:xfrm>
          <a:off x="3602817" y="1347074"/>
          <a:ext cx="1654991" cy="1654991"/>
        </a:xfrm>
        <a:prstGeom prst="ellipse">
          <a:avLst/>
        </a:prstGeom>
        <a:solidFill>
          <a:srgbClr val="FFAB15"/>
        </a:solidFill>
        <a:ln w="25400" cap="flat" cmpd="sng" algn="ctr">
          <a:solidFill>
            <a:srgbClr val="182D5A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kern="1200" dirty="0" smtClean="0">
              <a:solidFill>
                <a:srgbClr val="182D5A"/>
              </a:solidFill>
            </a:rPr>
            <a:t>College Student</a:t>
          </a:r>
          <a:endParaRPr lang="en-US" sz="2600" b="1" kern="1200" dirty="0">
            <a:solidFill>
              <a:srgbClr val="182D5A"/>
            </a:solidFill>
          </a:endParaRPr>
        </a:p>
      </dsp:txBody>
      <dsp:txXfrm>
        <a:off x="3845185" y="1589442"/>
        <a:ext cx="1170255" cy="1170255"/>
      </dsp:txXfrm>
    </dsp:sp>
    <dsp:sp modelId="{4E28D90F-8FCA-40E2-89C0-E1B8F0C39061}">
      <dsp:nvSpPr>
        <dsp:cNvPr id="0" name=""/>
        <dsp:cNvSpPr/>
      </dsp:nvSpPr>
      <dsp:spPr>
        <a:xfrm rot="7869318">
          <a:off x="3024614" y="3053165"/>
          <a:ext cx="781257" cy="565472"/>
        </a:xfrm>
        <a:prstGeom prst="rightArrow">
          <a:avLst>
            <a:gd name="adj1" fmla="val 60000"/>
            <a:gd name="adj2" fmla="val 50000"/>
          </a:avLst>
        </a:prstGeom>
        <a:solidFill>
          <a:srgbClr val="182D5A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100" kern="1200"/>
        </a:p>
      </dsp:txBody>
      <dsp:txXfrm rot="10800000">
        <a:off x="3165256" y="3102395"/>
        <a:ext cx="611615" cy="339284"/>
      </dsp:txXfrm>
    </dsp:sp>
    <dsp:sp modelId="{49590AD6-4EFA-4D24-B4CB-D0FF53E5BEE9}">
      <dsp:nvSpPr>
        <dsp:cNvPr id="0" name=""/>
        <dsp:cNvSpPr/>
      </dsp:nvSpPr>
      <dsp:spPr>
        <a:xfrm>
          <a:off x="1052226" y="3657589"/>
          <a:ext cx="2273348" cy="2162715"/>
        </a:xfrm>
        <a:prstGeom prst="ellipse">
          <a:avLst/>
        </a:prstGeom>
        <a:solidFill>
          <a:srgbClr val="495E0A"/>
        </a:solidFill>
        <a:ln w="25400" cap="flat" cmpd="sng" algn="ctr">
          <a:solidFill>
            <a:srgbClr val="182D5A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rgbClr val="FEFFDB"/>
              </a:solidFill>
            </a:rPr>
            <a:t>Peer and Career Mentors</a:t>
          </a:r>
          <a:endParaRPr lang="en-US" sz="1400" kern="1200" dirty="0">
            <a:solidFill>
              <a:srgbClr val="FEFFDB"/>
            </a:solidFill>
          </a:endParaRPr>
        </a:p>
      </dsp:txBody>
      <dsp:txXfrm>
        <a:off x="1385150" y="3974311"/>
        <a:ext cx="1607500" cy="1529271"/>
      </dsp:txXfrm>
    </dsp:sp>
    <dsp:sp modelId="{1313337C-F0CC-4D31-8680-3A2FBF41666A}">
      <dsp:nvSpPr>
        <dsp:cNvPr id="0" name=""/>
        <dsp:cNvSpPr/>
      </dsp:nvSpPr>
      <dsp:spPr>
        <a:xfrm rot="103755">
          <a:off x="5391712" y="1925746"/>
          <a:ext cx="323817" cy="565472"/>
        </a:xfrm>
        <a:prstGeom prst="rightArrow">
          <a:avLst>
            <a:gd name="adj1" fmla="val 60000"/>
            <a:gd name="adj2" fmla="val 50000"/>
          </a:avLst>
        </a:prstGeom>
        <a:solidFill>
          <a:srgbClr val="182D5A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100" kern="1200"/>
        </a:p>
      </dsp:txBody>
      <dsp:txXfrm>
        <a:off x="5391734" y="2037374"/>
        <a:ext cx="226672" cy="339284"/>
      </dsp:txXfrm>
    </dsp:sp>
    <dsp:sp modelId="{FF185282-1FE1-428D-8CB1-DA667B68C4EE}">
      <dsp:nvSpPr>
        <dsp:cNvPr id="0" name=""/>
        <dsp:cNvSpPr/>
      </dsp:nvSpPr>
      <dsp:spPr>
        <a:xfrm>
          <a:off x="5867406" y="838190"/>
          <a:ext cx="2954693" cy="2848733"/>
        </a:xfrm>
        <a:prstGeom prst="ellipse">
          <a:avLst/>
        </a:prstGeom>
        <a:solidFill>
          <a:srgbClr val="495E0A"/>
        </a:solidFill>
        <a:ln w="25400" cap="flat" cmpd="sng" algn="ctr">
          <a:solidFill>
            <a:srgbClr val="182D5A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rgbClr val="FEFFDB"/>
              </a:solidFill>
            </a:rPr>
            <a:t>Career – Path Employment</a:t>
          </a:r>
        </a:p>
      </dsp:txBody>
      <dsp:txXfrm>
        <a:off x="6300111" y="1255377"/>
        <a:ext cx="2089283" cy="2014359"/>
      </dsp:txXfrm>
    </dsp:sp>
    <dsp:sp modelId="{5FD24634-041F-40FF-B10F-314B8208520E}">
      <dsp:nvSpPr>
        <dsp:cNvPr id="0" name=""/>
        <dsp:cNvSpPr/>
      </dsp:nvSpPr>
      <dsp:spPr>
        <a:xfrm rot="4501192">
          <a:off x="4551062" y="3003735"/>
          <a:ext cx="353540" cy="565472"/>
        </a:xfrm>
        <a:prstGeom prst="rightArrow">
          <a:avLst>
            <a:gd name="adj1" fmla="val 60000"/>
            <a:gd name="adj2" fmla="val 50000"/>
          </a:avLst>
        </a:prstGeom>
        <a:solidFill>
          <a:srgbClr val="182D5A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100" kern="1200"/>
        </a:p>
      </dsp:txBody>
      <dsp:txXfrm>
        <a:off x="4590385" y="3065600"/>
        <a:ext cx="247478" cy="339284"/>
      </dsp:txXfrm>
    </dsp:sp>
    <dsp:sp modelId="{E7767502-AFA8-475D-BF1F-EE8290E8D288}">
      <dsp:nvSpPr>
        <dsp:cNvPr id="0" name=""/>
        <dsp:cNvSpPr/>
      </dsp:nvSpPr>
      <dsp:spPr>
        <a:xfrm>
          <a:off x="3886202" y="3581387"/>
          <a:ext cx="2474324" cy="2366552"/>
        </a:xfrm>
        <a:prstGeom prst="ellipse">
          <a:avLst/>
        </a:prstGeom>
        <a:solidFill>
          <a:srgbClr val="495E0A"/>
        </a:solidFill>
        <a:ln w="25400" cap="flat" cmpd="sng" algn="ctr">
          <a:solidFill>
            <a:srgbClr val="182D5A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rgbClr val="FEFFDB"/>
              </a:solidFill>
            </a:rPr>
            <a:t>Internships</a:t>
          </a:r>
        </a:p>
      </dsp:txBody>
      <dsp:txXfrm>
        <a:off x="4248558" y="3927961"/>
        <a:ext cx="1749612" cy="1673404"/>
      </dsp:txXfrm>
    </dsp:sp>
    <dsp:sp modelId="{71CEF7E0-2030-4080-A4F7-A536C3E26E6F}">
      <dsp:nvSpPr>
        <dsp:cNvPr id="0" name=""/>
        <dsp:cNvSpPr/>
      </dsp:nvSpPr>
      <dsp:spPr>
        <a:xfrm rot="10849224">
          <a:off x="2540582" y="1870940"/>
          <a:ext cx="861267" cy="565472"/>
        </a:xfrm>
        <a:prstGeom prst="rightArrow">
          <a:avLst>
            <a:gd name="adj1" fmla="val 60000"/>
            <a:gd name="adj2" fmla="val 50000"/>
          </a:avLst>
        </a:prstGeom>
        <a:solidFill>
          <a:srgbClr val="182D5A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100" kern="1200"/>
        </a:p>
      </dsp:txBody>
      <dsp:txXfrm rot="10800000">
        <a:off x="2710215" y="1985248"/>
        <a:ext cx="691625" cy="339284"/>
      </dsp:txXfrm>
    </dsp:sp>
    <dsp:sp modelId="{D941F1C5-071C-48A6-9576-374165802330}">
      <dsp:nvSpPr>
        <dsp:cNvPr id="0" name=""/>
        <dsp:cNvSpPr/>
      </dsp:nvSpPr>
      <dsp:spPr>
        <a:xfrm>
          <a:off x="224329" y="1083058"/>
          <a:ext cx="2076231" cy="2092298"/>
        </a:xfrm>
        <a:prstGeom prst="ellipse">
          <a:avLst/>
        </a:prstGeom>
        <a:solidFill>
          <a:srgbClr val="495E0A"/>
        </a:solidFill>
        <a:ln w="25400" cap="flat" cmpd="sng" algn="ctr">
          <a:solidFill>
            <a:srgbClr val="182D5A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rgbClr val="FEFFDB"/>
              </a:solidFill>
            </a:rPr>
            <a:t>Targeted Skills Curriculum</a:t>
          </a:r>
          <a:endParaRPr lang="en-US" sz="1400" b="1" kern="1200" dirty="0" smtClean="0">
            <a:solidFill>
              <a:srgbClr val="FEFFDB"/>
            </a:solidFill>
          </a:endParaRPr>
        </a:p>
      </dsp:txBody>
      <dsp:txXfrm>
        <a:off x="528386" y="1389468"/>
        <a:ext cx="1468117" cy="147947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F558AD-B1AD-4225-8481-837EE0AE64A5}">
      <dsp:nvSpPr>
        <dsp:cNvPr id="0" name=""/>
        <dsp:cNvSpPr/>
      </dsp:nvSpPr>
      <dsp:spPr>
        <a:xfrm>
          <a:off x="778485" y="183121"/>
          <a:ext cx="3355274" cy="201316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0" kern="1200" dirty="0" smtClean="0">
              <a:latin typeface="Cambria" panose="02040503050406030204" pitchFamily="18" charset="0"/>
            </a:rPr>
            <a:t>Compliance</a:t>
          </a:r>
          <a:endParaRPr lang="en-US" sz="2800" b="0" kern="1200" dirty="0">
            <a:latin typeface="Cambria" panose="02040503050406030204" pitchFamily="18" charset="0"/>
          </a:endParaRPr>
        </a:p>
      </dsp:txBody>
      <dsp:txXfrm>
        <a:off x="778485" y="183121"/>
        <a:ext cx="3355274" cy="2013164"/>
      </dsp:txXfrm>
    </dsp:sp>
    <dsp:sp modelId="{ADB339B9-F5FF-49C8-8D94-315CC7104F53}">
      <dsp:nvSpPr>
        <dsp:cNvPr id="0" name=""/>
        <dsp:cNvSpPr/>
      </dsp:nvSpPr>
      <dsp:spPr>
        <a:xfrm>
          <a:off x="4168419" y="145918"/>
          <a:ext cx="3355274" cy="2013164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lvl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0" kern="1200" dirty="0" smtClean="0">
              <a:latin typeface="Cambria" panose="02040503050406030204" pitchFamily="18" charset="0"/>
            </a:rPr>
            <a:t>Business Objectives</a:t>
          </a:r>
          <a:endParaRPr lang="en-US" sz="2800" b="0" kern="1200" dirty="0">
            <a:latin typeface="Cambria" panose="02040503050406030204" pitchFamily="18" charset="0"/>
          </a:endParaRPr>
        </a:p>
      </dsp:txBody>
      <dsp:txXfrm>
        <a:off x="4168419" y="145918"/>
        <a:ext cx="3355274" cy="2013164"/>
      </dsp:txXfrm>
    </dsp:sp>
    <dsp:sp modelId="{CBA8419A-0EFC-448C-A57C-86E6A5DC39CA}">
      <dsp:nvSpPr>
        <dsp:cNvPr id="0" name=""/>
        <dsp:cNvSpPr/>
      </dsp:nvSpPr>
      <dsp:spPr>
        <a:xfrm>
          <a:off x="778485" y="2150681"/>
          <a:ext cx="3355274" cy="201316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b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0" kern="1200" dirty="0" smtClean="0">
              <a:latin typeface="Cambria" panose="02040503050406030204" pitchFamily="18" charset="0"/>
            </a:rPr>
            <a:t>Performance </a:t>
          </a:r>
        </a:p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0" kern="1200" dirty="0" smtClean="0">
              <a:latin typeface="Cambria" panose="02040503050406030204" pitchFamily="18" charset="0"/>
            </a:rPr>
            <a:t>w/ Purpose</a:t>
          </a:r>
          <a:endParaRPr lang="en-US" sz="2800" b="0" kern="1200" dirty="0">
            <a:latin typeface="Cambria" panose="02040503050406030204" pitchFamily="18" charset="0"/>
          </a:endParaRPr>
        </a:p>
      </dsp:txBody>
      <dsp:txXfrm>
        <a:off x="778485" y="2150681"/>
        <a:ext cx="3355274" cy="2013164"/>
      </dsp:txXfrm>
    </dsp:sp>
    <dsp:sp modelId="{2FF06B86-175C-409C-81E8-4FFBE2B3D89F}">
      <dsp:nvSpPr>
        <dsp:cNvPr id="0" name=""/>
        <dsp:cNvSpPr/>
      </dsp:nvSpPr>
      <dsp:spPr>
        <a:xfrm>
          <a:off x="4156810" y="2143836"/>
          <a:ext cx="3355274" cy="201316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b" anchorCtr="0">
          <a:noAutofit/>
        </a:bodyPr>
        <a:lstStyle/>
        <a:p>
          <a:pPr lvl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0" kern="1200" dirty="0" smtClean="0">
              <a:latin typeface="+mj-lt"/>
            </a:rPr>
            <a:t>Value of Diversity</a:t>
          </a:r>
          <a:endParaRPr lang="en-US" sz="2800" b="0" kern="1200" dirty="0">
            <a:latin typeface="+mj-lt"/>
          </a:endParaRPr>
        </a:p>
      </dsp:txBody>
      <dsp:txXfrm>
        <a:off x="4156810" y="2143836"/>
        <a:ext cx="3355274" cy="20131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9DC1FFB-433E-48D9-BA77-F8F4AC8A86D8}" type="datetimeFigureOut">
              <a:rPr lang="en-US"/>
              <a:pPr>
                <a:defRPr/>
              </a:pPr>
              <a:t>7/21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AACA2D0E-9B96-464A-9F98-D3F30272550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8664140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27652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71D0B09C-37FC-4A47-8E11-1E3AF37B5AF5}" type="slidenum">
              <a:rPr lang="en-US" altLang="en-US">
                <a:latin typeface="Calibri" panose="020F0502020204030204" pitchFamily="34" charset="0"/>
              </a:rPr>
              <a:pPr eaLnBrk="1" hangingPunct="1"/>
              <a:t>21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44563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6859523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28740743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35282095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90AF110D-E02D-46F1-BADD-5CAC67F2DD0C}" type="slidenum">
              <a:rPr lang="en-US" altLang="en-US">
                <a:latin typeface="Calibri" panose="020F0502020204030204" pitchFamily="34" charset="0"/>
              </a:rPr>
              <a:pPr eaLnBrk="1" hangingPunct="1"/>
              <a:t>26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39642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B7B8CA-33EA-4625-BCB7-1CFE5F0B01BE}" type="datetimeFigureOut">
              <a:rPr lang="en-US"/>
              <a:pPr>
                <a:defRPr/>
              </a:pPr>
              <a:t>7/2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17A9340-2A07-412B-BA65-1A18B331D42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50993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AA04C1-F1E7-4AEB-973F-75DA62F989C1}" type="datetimeFigureOut">
              <a:rPr lang="en-US"/>
              <a:pPr>
                <a:defRPr/>
              </a:pPr>
              <a:t>7/2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1053BC8-6805-4613-B9E6-2CE81A5E199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329527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B44239-58F8-40AE-A077-12D08B3F819C}" type="datetimeFigureOut">
              <a:rPr lang="en-US"/>
              <a:pPr>
                <a:defRPr/>
              </a:pPr>
              <a:t>7/2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50B4CC7-AC9B-41B2-B251-0DADA66013C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689095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rgbClr val="002D4D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F749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445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6200" y="152400"/>
            <a:ext cx="5105400" cy="912813"/>
          </a:xfrm>
        </p:spPr>
        <p:txBody>
          <a:bodyPr>
            <a:noAutofit/>
          </a:bodyPr>
          <a:lstStyle>
            <a:lvl1pPr>
              <a:defRPr sz="2800">
                <a:solidFill>
                  <a:srgbClr val="F7490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Georgia" panose="02040502050405020303" pitchFamily="18" charset="0"/>
              </a:defRPr>
            </a:lvl1pPr>
            <a:lvl2pPr>
              <a:defRPr>
                <a:latin typeface="Georgia" panose="02040502050405020303" pitchFamily="18" charset="0"/>
              </a:defRPr>
            </a:lvl2pPr>
            <a:lvl3pPr>
              <a:defRPr>
                <a:latin typeface="Georgia" panose="02040502050405020303" pitchFamily="18" charset="0"/>
              </a:defRPr>
            </a:lvl3pPr>
            <a:lvl4pPr>
              <a:defRPr>
                <a:latin typeface="Georgia" panose="02040502050405020303" pitchFamily="18" charset="0"/>
              </a:defRPr>
            </a:lvl4pPr>
            <a:lvl5pPr>
              <a:defRPr>
                <a:latin typeface="Georgia" panose="02040502050405020303" pitchFamily="18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08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920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971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700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464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280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90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F584CD-E7AA-414C-8D98-58695A11E25D}" type="datetimeFigureOut">
              <a:rPr lang="en-US"/>
              <a:pPr>
                <a:defRPr/>
              </a:pPr>
              <a:t>7/2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3AA7848-FD6E-4D05-9284-DA0C8CE5ACB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15400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8670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526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770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rgbClr val="002D4D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F749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826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6200" y="152400"/>
            <a:ext cx="5105400" cy="912813"/>
          </a:xfrm>
        </p:spPr>
        <p:txBody>
          <a:bodyPr>
            <a:noAutofit/>
          </a:bodyPr>
          <a:lstStyle>
            <a:lvl1pPr>
              <a:defRPr sz="2800">
                <a:solidFill>
                  <a:srgbClr val="F7490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Georgia" panose="02040502050405020303" pitchFamily="18" charset="0"/>
              </a:defRPr>
            </a:lvl1pPr>
            <a:lvl2pPr>
              <a:defRPr>
                <a:latin typeface="Georgia" panose="02040502050405020303" pitchFamily="18" charset="0"/>
              </a:defRPr>
            </a:lvl2pPr>
            <a:lvl3pPr>
              <a:defRPr>
                <a:latin typeface="Georgia" panose="02040502050405020303" pitchFamily="18" charset="0"/>
              </a:defRPr>
            </a:lvl3pPr>
            <a:lvl4pPr>
              <a:defRPr>
                <a:latin typeface="Georgia" panose="02040502050405020303" pitchFamily="18" charset="0"/>
              </a:defRPr>
            </a:lvl4pPr>
            <a:lvl5pPr>
              <a:defRPr>
                <a:latin typeface="Georgia" panose="02040502050405020303" pitchFamily="18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75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839200" cy="912813"/>
          </a:xfrm>
        </p:spPr>
        <p:txBody>
          <a:bodyPr>
            <a:noAutofit/>
          </a:bodyPr>
          <a:lstStyle>
            <a:lvl1pPr>
              <a:defRPr sz="2800">
                <a:solidFill>
                  <a:srgbClr val="F7490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Georgia" panose="02040502050405020303" pitchFamily="18" charset="0"/>
              </a:defRPr>
            </a:lvl1pPr>
            <a:lvl2pPr>
              <a:defRPr>
                <a:latin typeface="Georgia" panose="02040502050405020303" pitchFamily="18" charset="0"/>
              </a:defRPr>
            </a:lvl2pPr>
            <a:lvl3pPr>
              <a:defRPr>
                <a:latin typeface="Georgia" panose="02040502050405020303" pitchFamily="18" charset="0"/>
              </a:defRPr>
            </a:lvl3pPr>
            <a:lvl4pPr>
              <a:defRPr>
                <a:latin typeface="Georgia" panose="02040502050405020303" pitchFamily="18" charset="0"/>
              </a:defRPr>
            </a:lvl4pPr>
            <a:lvl5pPr>
              <a:defRPr>
                <a:latin typeface="Georgia" panose="02040502050405020303" pitchFamily="18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791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858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002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994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21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3E6E57-6405-4983-9D08-5D4015AC7050}" type="datetimeFigureOut">
              <a:rPr lang="en-US"/>
              <a:pPr>
                <a:defRPr/>
              </a:pPr>
              <a:t>7/2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EDAE0D-27AF-49AD-97C9-A9CA6CE3EB2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969182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897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33400"/>
            <a:ext cx="9144000" cy="685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19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352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726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88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452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459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rgbClr val="002D4D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F749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528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6200" y="152400"/>
            <a:ext cx="5105400" cy="912813"/>
          </a:xfrm>
        </p:spPr>
        <p:txBody>
          <a:bodyPr>
            <a:noAutofit/>
          </a:bodyPr>
          <a:lstStyle>
            <a:lvl1pPr>
              <a:defRPr sz="2800">
                <a:solidFill>
                  <a:srgbClr val="F7490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Georgia" panose="02040502050405020303" pitchFamily="18" charset="0"/>
              </a:defRPr>
            </a:lvl1pPr>
            <a:lvl2pPr>
              <a:defRPr>
                <a:latin typeface="Georgia" panose="02040502050405020303" pitchFamily="18" charset="0"/>
              </a:defRPr>
            </a:lvl2pPr>
            <a:lvl3pPr>
              <a:defRPr>
                <a:latin typeface="Georgia" panose="02040502050405020303" pitchFamily="18" charset="0"/>
              </a:defRPr>
            </a:lvl3pPr>
            <a:lvl4pPr>
              <a:defRPr>
                <a:latin typeface="Georgia" panose="02040502050405020303" pitchFamily="18" charset="0"/>
              </a:defRPr>
            </a:lvl4pPr>
            <a:lvl5pPr>
              <a:defRPr>
                <a:latin typeface="Georgia" panose="02040502050405020303" pitchFamily="18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207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839200" cy="912813"/>
          </a:xfrm>
        </p:spPr>
        <p:txBody>
          <a:bodyPr>
            <a:noAutofit/>
          </a:bodyPr>
          <a:lstStyle>
            <a:lvl1pPr>
              <a:defRPr sz="2800">
                <a:solidFill>
                  <a:srgbClr val="F7490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Georgia" panose="02040502050405020303" pitchFamily="18" charset="0"/>
              </a:defRPr>
            </a:lvl1pPr>
            <a:lvl2pPr>
              <a:defRPr>
                <a:latin typeface="Georgia" panose="02040502050405020303" pitchFamily="18" charset="0"/>
              </a:defRPr>
            </a:lvl2pPr>
            <a:lvl3pPr>
              <a:defRPr>
                <a:latin typeface="Georgia" panose="02040502050405020303" pitchFamily="18" charset="0"/>
              </a:defRPr>
            </a:lvl3pPr>
            <a:lvl4pPr>
              <a:defRPr>
                <a:latin typeface="Georgia" panose="02040502050405020303" pitchFamily="18" charset="0"/>
              </a:defRPr>
            </a:lvl4pPr>
            <a:lvl5pPr>
              <a:defRPr>
                <a:latin typeface="Georgia" panose="02040502050405020303" pitchFamily="18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412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101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3F198D-4EDB-447C-9819-703D3C9005E2}" type="datetimeFigureOut">
              <a:rPr lang="en-US"/>
              <a:pPr>
                <a:defRPr/>
              </a:pPr>
              <a:t>7/21/2015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BA164B1-1A76-49E7-8BBE-F0C8862C117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06208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422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065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66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017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33400"/>
            <a:ext cx="9144000" cy="685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478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0516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69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647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160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13E0D5-C692-40CA-AAC3-48ADC2B1F91F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0727FC1-4FBA-49C5-8DAF-5CCD19131A1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49938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9A7639-18E4-4FD5-9FFA-FBF23B540600}" type="datetimeFigureOut">
              <a:rPr lang="en-US"/>
              <a:pPr>
                <a:defRPr/>
              </a:pPr>
              <a:t>7/21/2015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A2ED1DE-55F1-43C0-A6DA-28F506B72BA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924359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D02F8E-02E9-40B5-B39F-C97B9A7C7117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FCCFB99-06ED-45BE-AFAC-C23912762FE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50292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1F418F-53B9-4EE9-98EA-005CDE4ABAA3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59D6B36-9CDD-48D2-BA36-A7CC3AE7F14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025693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7704C2-33A1-4C70-A464-BF312FCAE12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FE52074-1315-47C2-96C3-19A0F4C36ED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282466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689946-33C7-4038-8F34-5190E38D00B2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CD3E58C-114D-4D47-AED7-AC818595175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459781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4FC65C-3866-4DD4-9F87-318FD7B770E3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28B4A7F-8EA4-41B3-B848-1D83C150D88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117116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B98D1C-9889-40F6-89E8-6BE96A2D21EA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9B5B85E-5938-4E9B-A929-67F85296988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1469936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05E867-7968-47F5-BA00-0FC4C5E67815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324F754-770F-4182-9700-257310120A1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644422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D4269-B195-453B-9505-574DFE30333E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9D136EE-4F82-44ED-A46E-DFE455CCADB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8923403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127F37-3487-48BC-BA73-F1BCE67B039F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EAE6E5D-8C3A-483A-AB38-F984BFF8A86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8818504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71FB11-BDC0-474F-B6A9-8575B98A81A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EEBBDDA-F639-4EC7-9477-BA0A803F98E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65668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51F546-F052-4B54-B30A-4DD54CFBDB13}" type="datetimeFigureOut">
              <a:rPr lang="en-US"/>
              <a:pPr>
                <a:defRPr/>
              </a:pPr>
              <a:t>7/21/2015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CFD0A66-95BC-4226-944A-BB9CCC8653C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91243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rgbClr val="002D4D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F749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796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6200" y="152400"/>
            <a:ext cx="5105400" cy="912813"/>
          </a:xfrm>
        </p:spPr>
        <p:txBody>
          <a:bodyPr>
            <a:noAutofit/>
          </a:bodyPr>
          <a:lstStyle>
            <a:lvl1pPr>
              <a:defRPr sz="2800">
                <a:solidFill>
                  <a:srgbClr val="F7490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Georgia" panose="02040502050405020303" pitchFamily="18" charset="0"/>
              </a:defRPr>
            </a:lvl1pPr>
            <a:lvl2pPr>
              <a:defRPr>
                <a:latin typeface="Georgia" panose="02040502050405020303" pitchFamily="18" charset="0"/>
              </a:defRPr>
            </a:lvl2pPr>
            <a:lvl3pPr>
              <a:defRPr>
                <a:latin typeface="Georgia" panose="02040502050405020303" pitchFamily="18" charset="0"/>
              </a:defRPr>
            </a:lvl3pPr>
            <a:lvl4pPr>
              <a:defRPr>
                <a:latin typeface="Georgia" panose="02040502050405020303" pitchFamily="18" charset="0"/>
              </a:defRPr>
            </a:lvl4pPr>
            <a:lvl5pPr>
              <a:defRPr>
                <a:latin typeface="Georgia" panose="02040502050405020303" pitchFamily="18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98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803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761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506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571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654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008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34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042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5BA83F-E77A-4E2D-AA92-53AAA6EF8B00}" type="datetimeFigureOut">
              <a:rPr lang="en-US"/>
              <a:pPr>
                <a:defRPr/>
              </a:pPr>
              <a:t>7/21/2015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6772BD2-B487-416E-93AF-3F94E989B43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3769458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865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CD062D-8141-402D-888A-0D321853C2AB}" type="datetimeFigureOut">
              <a:rPr lang="en-US"/>
              <a:pPr>
                <a:defRPr/>
              </a:pPr>
              <a:t>7/21/2015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3611D64-019C-4EA3-8E2F-3F6466FDB2C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64526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CD3B10-A2A9-4894-A489-EFC4E24CCD72}" type="datetimeFigureOut">
              <a:rPr lang="en-US"/>
              <a:pPr>
                <a:defRPr/>
              </a:pPr>
              <a:t>7/21/2015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50E75FB-54E2-4109-9125-7E986A08C87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320220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819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CB8DBAD-1DA6-40C6-A801-71F8BAE62062}" type="datetimeFigureOut">
              <a:rPr lang="en-US"/>
              <a:pPr>
                <a:defRPr/>
              </a:pPr>
              <a:t>7/2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fld id="{65637E90-E269-458E-B013-177F2FB02506}" type="slidenum">
              <a:rPr lang="en-US" altLang="en-US"/>
              <a:pPr/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7/21/2015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5758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7/21/2015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1779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7/21/2015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7741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819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2B8EBC8-768D-44DB-859B-9352728A6435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fld id="{C102B14E-10BC-4E85-B871-104EE4533321}" type="slidenum">
              <a:rPr lang="en-US" altLang="en-US" smtClean="0"/>
              <a:pPr/>
              <a:t>‹#›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3966262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29217AF8-DBBB-41FB-BEFF-451C3979F07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7/21/2015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39F1A69-56F1-4ADC-8F16-F601E3A7FCF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9807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9.png"/><Relationship Id="rId4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9.png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9.png"/><Relationship Id="rId4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diagramColors" Target="../diagrams/colors1.xml"/><Relationship Id="rId12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19.png"/><Relationship Id="rId5" Type="http://schemas.openxmlformats.org/officeDocument/2006/relationships/diagramLayout" Target="../diagrams/layout1.xml"/><Relationship Id="rId10" Type="http://schemas.openxmlformats.org/officeDocument/2006/relationships/image" Target="../media/image18.png"/><Relationship Id="rId4" Type="http://schemas.openxmlformats.org/officeDocument/2006/relationships/diagramData" Target="../diagrams/data1.xml"/><Relationship Id="rId9" Type="http://schemas.openxmlformats.org/officeDocument/2006/relationships/image" Target="../media/image17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22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diagramLayout" Target="../diagrams/layout3.xml"/><Relationship Id="rId7" Type="http://schemas.openxmlformats.org/officeDocument/2006/relationships/image" Target="../media/image23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11" Type="http://schemas.openxmlformats.org/officeDocument/2006/relationships/image" Target="../media/image27.png"/><Relationship Id="rId5" Type="http://schemas.openxmlformats.org/officeDocument/2006/relationships/diagramColors" Target="../diagrams/colors3.xml"/><Relationship Id="rId10" Type="http://schemas.openxmlformats.org/officeDocument/2006/relationships/image" Target="../media/image26.jpeg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25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8.emf"/><Relationship Id="rId2" Type="http://schemas.openxmlformats.org/officeDocument/2006/relationships/tags" Target="../tags/tag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8.jpg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png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1.png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9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234624"/>
            <a:ext cx="9144000" cy="1470025"/>
          </a:xfrm>
        </p:spPr>
        <p:txBody>
          <a:bodyPr>
            <a:normAutofit/>
          </a:bodyPr>
          <a:lstStyle/>
          <a:p>
            <a:pPr lvl="0">
              <a:spcBef>
                <a:spcPct val="20000"/>
              </a:spcBef>
              <a:defRPr/>
            </a:pPr>
            <a:r>
              <a:rPr lang="en-US" sz="4000" b="1" dirty="0">
                <a:solidFill>
                  <a:srgbClr val="002060"/>
                </a:solidFill>
                <a:ea typeface="ＭＳ Ｐゴシック" pitchFamily="34" charset="-128"/>
                <a:cs typeface="Arial" panose="020B0604020202020204" pitchFamily="34" charset="0"/>
              </a:rPr>
              <a:t>Striving for Work and Overcoming </a:t>
            </a:r>
            <a:r>
              <a:rPr lang="en-US" sz="4000" b="1" dirty="0" smtClean="0">
                <a:solidFill>
                  <a:srgbClr val="002060"/>
                </a:solidFill>
                <a:ea typeface="ＭＳ Ｐゴシック" pitchFamily="34" charset="-128"/>
                <a:cs typeface="Arial" panose="020B0604020202020204" pitchFamily="34" charset="0"/>
              </a:rPr>
              <a:t>Barriers:</a:t>
            </a:r>
            <a:endParaRPr lang="en-US" sz="4000" b="1" dirty="0">
              <a:solidFill>
                <a:srgbClr val="002060"/>
              </a:solidFill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3305" y="3728251"/>
            <a:ext cx="8501189" cy="1752600"/>
          </a:xfrm>
        </p:spPr>
        <p:txBody>
          <a:bodyPr>
            <a:normAutofit/>
          </a:bodyPr>
          <a:lstStyle/>
          <a:p>
            <a:pPr lvl="0"/>
            <a:r>
              <a:rPr lang="en-US" sz="2800" b="1" dirty="0">
                <a:solidFill>
                  <a:schemeClr val="accent6">
                    <a:lumMod val="75000"/>
                  </a:schemeClr>
                </a:solidFill>
                <a:latin typeface="Georgia" panose="02040502050405020303" pitchFamily="18" charset="0"/>
                <a:ea typeface="ＭＳ Ｐゴシック" pitchFamily="34" charset="-128"/>
              </a:rPr>
              <a:t>2015 National Employment and </a:t>
            </a:r>
            <a:endParaRPr lang="en-US" sz="2800" b="1" dirty="0" smtClean="0">
              <a:solidFill>
                <a:schemeClr val="accent6">
                  <a:lumMod val="75000"/>
                </a:schemeClr>
              </a:solidFill>
              <a:latin typeface="Georgia" panose="02040502050405020303" pitchFamily="18" charset="0"/>
              <a:ea typeface="ＭＳ Ｐゴシック" pitchFamily="34" charset="-128"/>
            </a:endParaRPr>
          </a:p>
          <a:p>
            <a:pPr lvl="0"/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  <a:latin typeface="Georgia" panose="02040502050405020303" pitchFamily="18" charset="0"/>
                <a:ea typeface="ＭＳ Ｐゴシック" pitchFamily="34" charset="-128"/>
              </a:rPr>
              <a:t>Disability </a:t>
            </a:r>
            <a:r>
              <a:rPr lang="en-US" sz="2800" b="1" dirty="0">
                <a:solidFill>
                  <a:schemeClr val="accent6">
                    <a:lumMod val="75000"/>
                  </a:schemeClr>
                </a:solidFill>
                <a:latin typeface="Georgia" panose="02040502050405020303" pitchFamily="18" charset="0"/>
                <a:ea typeface="ＭＳ Ｐゴシック" pitchFamily="34" charset="-128"/>
              </a:rPr>
              <a:t>Survey</a:t>
            </a:r>
            <a:endParaRPr lang="en-US" sz="2800" b="1" dirty="0" smtClean="0">
              <a:solidFill>
                <a:schemeClr val="accent6">
                  <a:lumMod val="75000"/>
                </a:schemeClr>
              </a:solidFill>
              <a:latin typeface="Georgia" panose="02040502050405020303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52400"/>
            <a:ext cx="3562959" cy="78028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7066472" y="5988954"/>
            <a:ext cx="14510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prstClr val="black"/>
                </a:solidFill>
              </a:rPr>
              <a:t>July 21, 2015</a:t>
            </a:r>
            <a:endParaRPr lang="en-US" sz="1600" dirty="0">
              <a:solidFill>
                <a:prstClr val="black"/>
              </a:solidFill>
            </a:endParaRPr>
          </a:p>
        </p:txBody>
      </p:sp>
      <p:pic>
        <p:nvPicPr>
          <p:cNvPr id="9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9800" y="152400"/>
            <a:ext cx="2709989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16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Chart 4"/>
          <p:cNvGraphicFramePr>
            <a:graphicFrameLocks/>
          </p:cNvGraphicFramePr>
          <p:nvPr/>
        </p:nvGraphicFramePr>
        <p:xfrm>
          <a:off x="914400" y="1279525"/>
          <a:ext cx="7162800" cy="4124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Chart" r:id="rId3" imgW="7162671" imgH="4124164" progId="Excel.Chart.8">
                  <p:embed/>
                </p:oleObj>
              </mc:Choice>
              <mc:Fallback>
                <p:oleObj name="Chart" r:id="rId3" imgW="7162671" imgH="4124164" progId="Excel.Chart.8">
                  <p:embed/>
                  <p:pic>
                    <p:nvPicPr>
                      <p:cNvPr id="0" name="Chart 4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14400" y="1279525"/>
                        <a:ext cx="7162800" cy="41243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/>
          <p:cNvCxnSpPr/>
          <p:nvPr/>
        </p:nvCxnSpPr>
        <p:spPr>
          <a:xfrm>
            <a:off x="0" y="6019800"/>
            <a:ext cx="9144000" cy="0"/>
          </a:xfrm>
          <a:prstGeom prst="line">
            <a:avLst/>
          </a:prstGeom>
          <a:ln w="53975">
            <a:solidFill>
              <a:srgbClr val="1652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0" name="Picture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172200"/>
            <a:ext cx="16764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-3175" y="304800"/>
            <a:ext cx="9144000" cy="952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edian Annual Wages/Salar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000" b="1" dirty="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(Ages 21-64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3200" b="1" dirty="0" smtClean="0">
                <a:solidFill>
                  <a:srgbClr val="002060"/>
                </a:solidFill>
                <a:latin typeface="Georgia" panose="02040502050405020303" pitchFamily="18" charset="0"/>
              </a:rPr>
              <a:t>national Trends in Disability Employments (</a:t>
            </a:r>
            <a:r>
              <a:rPr lang="en-US" altLang="en-US" sz="3200" b="1" dirty="0" err="1" smtClean="0">
                <a:solidFill>
                  <a:srgbClr val="002060"/>
                </a:solidFill>
                <a:latin typeface="Georgia" panose="02040502050405020303" pitchFamily="18" charset="0"/>
              </a:rPr>
              <a:t>nTIDE</a:t>
            </a:r>
            <a:r>
              <a:rPr lang="en-US" altLang="en-US" sz="3200" b="1" dirty="0" smtClean="0">
                <a:solidFill>
                  <a:srgbClr val="002060"/>
                </a:solidFill>
                <a:latin typeface="Georgia" panose="02040502050405020303" pitchFamily="18" charset="0"/>
              </a:rPr>
              <a:t>) </a:t>
            </a:r>
          </a:p>
        </p:txBody>
      </p:sp>
      <p:sp>
        <p:nvSpPr>
          <p:cNvPr id="13315" name="Content Placeholder 8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876800"/>
          </a:xfrm>
        </p:spPr>
        <p:txBody>
          <a:bodyPr/>
          <a:lstStyle/>
          <a:p>
            <a:pPr eaLnBrk="1" hangingPunct="1">
              <a:buFont typeface="Arial" panose="020B0604020202020204" pitchFamily="34" charset="0"/>
              <a:buNone/>
            </a:pPr>
            <a:r>
              <a:rPr lang="en-US" altLang="en-US" sz="1800" smtClean="0">
                <a:cs typeface="Arial" panose="020B0604020202020204" pitchFamily="34" charset="0"/>
              </a:rPr>
              <a:t>The employment-to-population ratio, a key indicator, reflects the percentage of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en-US" altLang="en-US" sz="1800" smtClean="0">
                <a:cs typeface="Arial" panose="020B0604020202020204" pitchFamily="34" charset="0"/>
              </a:rPr>
              <a:t>people who are working relative to the total population (the number of people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en-US" altLang="en-US" sz="1800" smtClean="0">
                <a:cs typeface="Arial" panose="020B0604020202020204" pitchFamily="34" charset="0"/>
              </a:rPr>
              <a:t>working divided by the number of people in the total population multiplied by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en-US" altLang="en-US" sz="1800" smtClean="0">
                <a:cs typeface="Arial" panose="020B0604020202020204" pitchFamily="34" charset="0"/>
              </a:rPr>
              <a:t>100)</a:t>
            </a:r>
          </a:p>
          <a:p>
            <a:pPr eaLnBrk="1" hangingPunct="1">
              <a:buFont typeface="Arial" panose="020B0604020202020204" pitchFamily="34" charset="0"/>
              <a:buNone/>
            </a:pPr>
            <a:endParaRPr lang="en-US" altLang="en-US" sz="1800" smtClean="0">
              <a:cs typeface="Arial" panose="020B0604020202020204" pitchFamily="34" charset="0"/>
            </a:endParaRPr>
          </a:p>
          <a:p>
            <a:pPr eaLnBrk="1" hangingPunct="1"/>
            <a:r>
              <a:rPr lang="en-US" altLang="en-US" sz="1800" smtClean="0">
                <a:cs typeface="Arial" panose="020B0604020202020204" pitchFamily="34" charset="0"/>
              </a:rPr>
              <a:t>In 2014 persons without disabilities (PWoD) experienced an average </a:t>
            </a:r>
            <a:r>
              <a:rPr lang="en-US" altLang="en-US" sz="1800" i="1" smtClean="0">
                <a:cs typeface="Arial" panose="020B0604020202020204" pitchFamily="34" charset="0"/>
              </a:rPr>
              <a:t>increase</a:t>
            </a:r>
            <a:r>
              <a:rPr lang="en-US" altLang="en-US" sz="1800" smtClean="0">
                <a:cs typeface="Arial" panose="020B0604020202020204" pitchFamily="34" charset="0"/>
              </a:rPr>
              <a:t> of 1.4% change in the employment-to-population ratio</a:t>
            </a:r>
          </a:p>
          <a:p>
            <a:pPr eaLnBrk="1" hangingPunct="1"/>
            <a:r>
              <a:rPr lang="en-US" altLang="en-US" sz="1800" smtClean="0">
                <a:cs typeface="Arial" panose="020B0604020202020204" pitchFamily="34" charset="0"/>
              </a:rPr>
              <a:t>Whereas, in 2014 persons with disabilities (PWD) experienced an average </a:t>
            </a:r>
            <a:r>
              <a:rPr lang="en-US" altLang="en-US" sz="1800" i="1" smtClean="0">
                <a:cs typeface="Arial" panose="020B0604020202020204" pitchFamily="34" charset="0"/>
              </a:rPr>
              <a:t>decrease </a:t>
            </a:r>
            <a:r>
              <a:rPr lang="en-US" altLang="en-US" sz="1800" smtClean="0">
                <a:cs typeface="Arial" panose="020B0604020202020204" pitchFamily="34" charset="0"/>
              </a:rPr>
              <a:t>of 3% in the employment-to-population ratio</a:t>
            </a:r>
          </a:p>
          <a:p>
            <a:pPr eaLnBrk="1" hangingPunct="1"/>
            <a:r>
              <a:rPr lang="en-US" altLang="en-US" sz="1800" smtClean="0">
                <a:cs typeface="Arial" panose="020B0604020202020204" pitchFamily="34" charset="0"/>
              </a:rPr>
              <a:t>However, over the last 8 months the employment-to-population ratio has increased by an average of 10% for PWD and only 1% for PWoD</a:t>
            </a:r>
          </a:p>
          <a:p>
            <a:pPr eaLnBrk="1" hangingPunct="1"/>
            <a:r>
              <a:rPr lang="en-US" altLang="en-US" sz="1800" smtClean="0">
                <a:cs typeface="Arial" panose="020B0604020202020204" pitchFamily="34" charset="0"/>
              </a:rPr>
              <a:t>Caveat …. there remains a current disparity of 43 percentage points in the employment-to-population ratio between those with and without disabilities</a:t>
            </a:r>
          </a:p>
          <a:p>
            <a:pPr eaLnBrk="1" hangingPunct="1"/>
            <a:endParaRPr lang="en-US" altLang="en-US" sz="180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/>
            <a:endParaRPr lang="en-US" altLang="en-US" sz="180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002338"/>
            <a:ext cx="9144000" cy="0"/>
          </a:xfrm>
          <a:prstGeom prst="line">
            <a:avLst/>
          </a:prstGeom>
          <a:ln w="53975">
            <a:solidFill>
              <a:srgbClr val="1652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17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248400"/>
            <a:ext cx="1674813" cy="47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-3175" y="228600"/>
            <a:ext cx="9144000" cy="1219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0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62000" y="1676400"/>
            <a:ext cx="7553325" cy="4343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285750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400" dirty="0">
                <a:cs typeface="Times New Roman" panose="02020603050405020304" pitchFamily="18" charset="0"/>
              </a:rPr>
              <a:t>Reframe the discourse:</a:t>
            </a:r>
          </a:p>
          <a:p>
            <a:pPr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defRPr/>
            </a:pPr>
            <a:endParaRPr lang="en-US" sz="2400" b="1" dirty="0"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defRPr/>
            </a:pPr>
            <a:endParaRPr lang="en-US" sz="2400" dirty="0"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defRPr/>
            </a:pPr>
            <a:endParaRPr lang="en-US" sz="2400" dirty="0">
              <a:cs typeface="Times New Roman" panose="02020603050405020304" pitchFamily="18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400" dirty="0">
                <a:cs typeface="Times New Roman" panose="02020603050405020304" pitchFamily="18" charset="0"/>
              </a:rPr>
              <a:t>Informing the design of new interventions and priorities.</a:t>
            </a:r>
          </a:p>
          <a:p>
            <a:pPr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defRPr/>
            </a:pPr>
            <a:endParaRPr lang="en-US" sz="2400" dirty="0">
              <a:cs typeface="Times New Roman" panose="02020603050405020304" pitchFamily="18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400" dirty="0">
                <a:cs typeface="Times New Roman" panose="02020603050405020304" pitchFamily="18" charset="0"/>
              </a:rPr>
              <a:t>Filling information gap:</a:t>
            </a:r>
          </a:p>
          <a:p>
            <a:pPr lvl="1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defRPr/>
            </a:pPr>
            <a:r>
              <a:rPr lang="en-US" sz="2400" dirty="0">
                <a:cs typeface="Times New Roman" panose="02020603050405020304" pitchFamily="18" charset="0"/>
              </a:rPr>
              <a:t>No nationally representative, credible statistics on the workplace </a:t>
            </a:r>
            <a:r>
              <a:rPr lang="en-US" sz="2400" u="sng" dirty="0">
                <a:cs typeface="Times New Roman" panose="02020603050405020304" pitchFamily="18" charset="0"/>
              </a:rPr>
              <a:t>experiences</a:t>
            </a:r>
            <a:r>
              <a:rPr lang="en-US" sz="2400" dirty="0">
                <a:cs typeface="Times New Roman" panose="02020603050405020304" pitchFamily="18" charset="0"/>
              </a:rPr>
              <a:t> of people with disabilities.</a:t>
            </a:r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3384550" y="2395538"/>
            <a:ext cx="825500" cy="0"/>
          </a:xfrm>
          <a:prstGeom prst="straightConnector1">
            <a:avLst/>
          </a:prstGeom>
          <a:ln w="47625">
            <a:solidFill>
              <a:srgbClr val="056396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3381375" y="2795588"/>
            <a:ext cx="825500" cy="0"/>
          </a:xfrm>
          <a:prstGeom prst="straightConnector1">
            <a:avLst/>
          </a:prstGeom>
          <a:ln w="47625">
            <a:solidFill>
              <a:srgbClr val="8CB548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42" name="TextBox 5"/>
          <p:cNvSpPr txBox="1">
            <a:spLocks noChangeArrowheads="1"/>
          </p:cNvSpPr>
          <p:nvPr/>
        </p:nvSpPr>
        <p:spPr bwMode="auto">
          <a:xfrm>
            <a:off x="1574800" y="2195513"/>
            <a:ext cx="6197600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ts val="600"/>
              </a:spcAft>
              <a:buClr>
                <a:srgbClr val="0020AF"/>
              </a:buClr>
              <a:buSzPct val="130000"/>
            </a:pPr>
            <a:r>
              <a:rPr lang="en-US" altLang="en-US" sz="2000">
                <a:latin typeface="Calibri" panose="020F0502020204030204" pitchFamily="34" charset="0"/>
                <a:cs typeface="Times New Roman" panose="02020603050405020304" pitchFamily="18" charset="0"/>
              </a:rPr>
              <a:t>         </a:t>
            </a:r>
            <a:r>
              <a:rPr lang="en-US" altLang="en-US" sz="100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2000">
                <a:latin typeface="Calibri" panose="020F0502020204030204" pitchFamily="34" charset="0"/>
                <a:cs typeface="Times New Roman" panose="02020603050405020304" pitchFamily="18" charset="0"/>
              </a:rPr>
              <a:t>  Disparity		</a:t>
            </a:r>
            <a:r>
              <a:rPr lang="en-US" altLang="en-US" sz="2000">
                <a:latin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Striving to Work</a:t>
            </a:r>
          </a:p>
          <a:p>
            <a:pPr eaLnBrk="1" hangingPunct="1">
              <a:spcAft>
                <a:spcPts val="600"/>
              </a:spcAft>
              <a:buClr>
                <a:srgbClr val="0020AF"/>
              </a:buClr>
              <a:buSzPct val="130000"/>
            </a:pPr>
            <a:r>
              <a:rPr lang="en-US" altLang="en-US" sz="2000">
                <a:latin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 F</a:t>
            </a:r>
            <a:r>
              <a:rPr lang="en-US" altLang="en-US" sz="2000">
                <a:latin typeface="Calibri" panose="020F0502020204030204" pitchFamily="34" charset="0"/>
                <a:cs typeface="Times New Roman" panose="02020603050405020304" pitchFamily="18" charset="0"/>
              </a:rPr>
              <a:t>acing Barriers		Success in </a:t>
            </a:r>
            <a:r>
              <a:rPr lang="en-US" altLang="en-US" sz="2000">
                <a:latin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Overcoming Barriers</a:t>
            </a:r>
            <a:endParaRPr lang="en-US" altLang="en-US" sz="2000">
              <a:latin typeface="Calibri" panose="020F0502020204030204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0" y="6002338"/>
            <a:ext cx="9144000" cy="0"/>
          </a:xfrm>
          <a:prstGeom prst="line">
            <a:avLst/>
          </a:prstGeom>
          <a:ln w="53975">
            <a:solidFill>
              <a:srgbClr val="1652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344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172200"/>
            <a:ext cx="16764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2133600" y="381000"/>
            <a:ext cx="5257800" cy="13477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2400" b="1" dirty="0">
                <a:solidFill>
                  <a:srgbClr val="002060"/>
                </a:solidFill>
                <a:latin typeface="Georgia" panose="02040502050405020303" pitchFamily="18" charset="0"/>
                <a:ea typeface="ＭＳ Ｐゴシック" pitchFamily="34" charset="-128"/>
              </a:rPr>
              <a:t>Kessler Foundation </a:t>
            </a:r>
          </a:p>
          <a:p>
            <a:pPr algn="ctr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2400" b="1" dirty="0">
                <a:solidFill>
                  <a:srgbClr val="002060"/>
                </a:solidFill>
                <a:latin typeface="Georgia" panose="02040502050405020303" pitchFamily="18" charset="0"/>
                <a:ea typeface="ＭＳ Ｐゴシック" pitchFamily="34" charset="-128"/>
              </a:rPr>
              <a:t>2015 National Employment and</a:t>
            </a:r>
          </a:p>
          <a:p>
            <a:pPr algn="ctr"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2400" b="1" dirty="0">
                <a:solidFill>
                  <a:srgbClr val="002060"/>
                </a:solidFill>
                <a:latin typeface="Georgia" panose="02040502050405020303" pitchFamily="18" charset="0"/>
                <a:ea typeface="ＭＳ Ｐゴシック" pitchFamily="34" charset="-128"/>
              </a:rPr>
              <a:t> Disability Surve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-3175" y="304800"/>
            <a:ext cx="9144000" cy="952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Sample</a:t>
            </a:r>
          </a:p>
        </p:txBody>
      </p:sp>
      <p:sp>
        <p:nvSpPr>
          <p:cNvPr id="2" name="Rectangle 1"/>
          <p:cNvSpPr/>
          <p:nvPr/>
        </p:nvSpPr>
        <p:spPr>
          <a:xfrm>
            <a:off x="762000" y="1524000"/>
            <a:ext cx="7553325" cy="4495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285750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400" dirty="0"/>
              <a:t>Working-age adults with disabilities</a:t>
            </a:r>
            <a:r>
              <a:rPr lang="en-US" sz="2400" dirty="0">
                <a:cs typeface="Times New Roman" panose="02020603050405020304" pitchFamily="18" charset="0"/>
              </a:rPr>
              <a:t>.</a:t>
            </a:r>
          </a:p>
          <a:p>
            <a:pPr marL="742950" lvl="1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000" dirty="0"/>
              <a:t>18 to 64 years old.</a:t>
            </a:r>
          </a:p>
          <a:p>
            <a:pPr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defRPr/>
            </a:pPr>
            <a:endParaRPr lang="en-US" sz="1200" dirty="0"/>
          </a:p>
          <a:p>
            <a:pPr marL="285750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400" dirty="0"/>
              <a:t>Screening questions used in past surveys</a:t>
            </a:r>
            <a:r>
              <a:rPr lang="en-US" sz="2400" dirty="0">
                <a:cs typeface="Times New Roman" panose="02020603050405020304" pitchFamily="18" charset="0"/>
              </a:rPr>
              <a:t>.</a:t>
            </a:r>
          </a:p>
          <a:p>
            <a:pPr marL="742950" lvl="1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000" dirty="0"/>
              <a:t>American Community Survey (US Census).</a:t>
            </a:r>
          </a:p>
          <a:p>
            <a:pPr marL="742950" lvl="1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000" dirty="0"/>
              <a:t>A Canadian survey on disability.</a:t>
            </a:r>
          </a:p>
          <a:p>
            <a:pPr lvl="1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defRPr/>
            </a:pPr>
            <a:endParaRPr lang="en-US" sz="1200" dirty="0">
              <a:cs typeface="Times New Roman" panose="02020603050405020304" pitchFamily="18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400" dirty="0"/>
              <a:t>People with sensory, physical, mental, and developmental disabilities were interviewed.</a:t>
            </a:r>
          </a:p>
          <a:p>
            <a:pPr marL="742950" lvl="1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000" dirty="0"/>
              <a:t>Proxies were used with individuals who could not complete the survey themselves.</a:t>
            </a:r>
          </a:p>
          <a:p>
            <a:pPr marL="742950" lvl="1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endParaRPr lang="en-US" sz="2400" dirty="0">
              <a:cs typeface="Times New Roman" panose="02020603050405020304" pitchFamily="18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0" y="6002338"/>
            <a:ext cx="9144000" cy="0"/>
          </a:xfrm>
          <a:prstGeom prst="line">
            <a:avLst/>
          </a:prstGeom>
          <a:ln w="53975">
            <a:solidFill>
              <a:srgbClr val="1652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36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172200"/>
            <a:ext cx="16764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-3175" y="304800"/>
            <a:ext cx="9144000" cy="952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ethods</a:t>
            </a:r>
          </a:p>
        </p:txBody>
      </p:sp>
      <p:sp>
        <p:nvSpPr>
          <p:cNvPr id="2" name="Rectangle 1"/>
          <p:cNvSpPr/>
          <p:nvPr/>
        </p:nvSpPr>
        <p:spPr>
          <a:xfrm>
            <a:off x="762000" y="1524000"/>
            <a:ext cx="7553325" cy="4495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285750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400" dirty="0">
                <a:cs typeface="Times New Roman" panose="02020603050405020304" pitchFamily="18" charset="0"/>
              </a:rPr>
              <a:t>Telephone survey of 3,013 people with disabilities nationwide.</a:t>
            </a:r>
          </a:p>
          <a:p>
            <a:pPr marL="742950" lvl="1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000" dirty="0"/>
              <a:t>MSE for entire survey is +/- 1.8%.</a:t>
            </a:r>
            <a:endParaRPr lang="en-US" sz="2000" dirty="0"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defRPr/>
            </a:pPr>
            <a:endParaRPr lang="en-US" sz="1200" dirty="0"/>
          </a:p>
          <a:p>
            <a:pPr marL="285750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400" dirty="0"/>
              <a:t>Random Digit Dialing (RDD) Survey</a:t>
            </a:r>
            <a:r>
              <a:rPr lang="en-US" sz="2400" dirty="0">
                <a:cs typeface="Times New Roman" panose="02020603050405020304" pitchFamily="18" charset="0"/>
              </a:rPr>
              <a:t>.</a:t>
            </a:r>
          </a:p>
          <a:p>
            <a:pPr marL="742950" lvl="1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000" dirty="0"/>
              <a:t>Randomly selected land lines and cell phones.</a:t>
            </a:r>
          </a:p>
          <a:p>
            <a:pPr marL="742950" lvl="1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000" dirty="0"/>
              <a:t>Random selection of an adult in household with a disability.</a:t>
            </a:r>
          </a:p>
          <a:p>
            <a:pPr lvl="1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defRPr/>
            </a:pPr>
            <a:endParaRPr lang="en-US" sz="1200" dirty="0">
              <a:cs typeface="Times New Roman" panose="02020603050405020304" pitchFamily="18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400" dirty="0"/>
              <a:t>Interviews conducted between October 2014 and April 2015 by UNH Survey Center and Penn State Survey Research Center.</a:t>
            </a:r>
            <a:endParaRPr lang="en-US" sz="2400" dirty="0">
              <a:cs typeface="Times New Roman" panose="02020603050405020304" pitchFamily="18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0" y="6002338"/>
            <a:ext cx="9144000" cy="0"/>
          </a:xfrm>
          <a:prstGeom prst="line">
            <a:avLst/>
          </a:prstGeom>
          <a:ln w="53975">
            <a:solidFill>
              <a:srgbClr val="1652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389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172200"/>
            <a:ext cx="16764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-3175" y="304800"/>
            <a:ext cx="9144000" cy="952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Resulting Sample</a:t>
            </a:r>
          </a:p>
        </p:txBody>
      </p:sp>
      <p:sp>
        <p:nvSpPr>
          <p:cNvPr id="2" name="Rectangle 1"/>
          <p:cNvSpPr/>
          <p:nvPr/>
        </p:nvSpPr>
        <p:spPr>
          <a:xfrm>
            <a:off x="762000" y="1524000"/>
            <a:ext cx="7553325" cy="4495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285750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400" dirty="0"/>
              <a:t>19% of all households completing the survey had at least one working-age adult with a disability</a:t>
            </a:r>
            <a:r>
              <a:rPr lang="en-US" sz="2400" dirty="0">
                <a:cs typeface="Times New Roman" panose="02020603050405020304" pitchFamily="18" charset="0"/>
              </a:rPr>
              <a:t>.</a:t>
            </a:r>
          </a:p>
          <a:p>
            <a:pPr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defRPr/>
            </a:pPr>
            <a:endParaRPr lang="en-US" sz="1200" dirty="0"/>
          </a:p>
          <a:p>
            <a:pPr marL="285750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400" dirty="0"/>
              <a:t>Data weighted to reflect ACS estimates (age, race, sex and region of country) for working-age adults with disabilities</a:t>
            </a:r>
            <a:r>
              <a:rPr lang="en-US" sz="2400" dirty="0">
                <a:cs typeface="Times New Roman" panose="02020603050405020304" pitchFamily="18" charset="0"/>
              </a:rPr>
              <a:t>.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0" y="6002338"/>
            <a:ext cx="9144000" cy="0"/>
          </a:xfrm>
          <a:prstGeom prst="line">
            <a:avLst/>
          </a:prstGeom>
          <a:ln w="53975">
            <a:solidFill>
              <a:srgbClr val="1652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413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172200"/>
            <a:ext cx="16764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Chart 4"/>
          <p:cNvGraphicFramePr>
            <a:graphicFrameLocks/>
          </p:cNvGraphicFramePr>
          <p:nvPr/>
        </p:nvGraphicFramePr>
        <p:xfrm>
          <a:off x="1066800" y="1135063"/>
          <a:ext cx="7162800" cy="4902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r:id="rId3" imgW="7163421" imgH="4901609" progId="Excel.Chart.8">
                  <p:embed/>
                </p:oleObj>
              </mc:Choice>
              <mc:Fallback>
                <p:oleObj r:id="rId3" imgW="7163421" imgH="4901609" progId="Excel.Chart.8">
                  <p:embed/>
                  <p:pic>
                    <p:nvPicPr>
                      <p:cNvPr id="0" name="Chart 4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66800" y="1135063"/>
                        <a:ext cx="7162800" cy="49022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4057650" y="3124200"/>
            <a:ext cx="1179513" cy="1955800"/>
          </a:xfrm>
          <a:prstGeom prst="rect">
            <a:avLst/>
          </a:prstGeom>
          <a:solidFill>
            <a:srgbClr val="BCC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6442075" y="3124200"/>
            <a:ext cx="1189038" cy="1955800"/>
          </a:xfrm>
          <a:prstGeom prst="rect">
            <a:avLst/>
          </a:prstGeom>
          <a:solidFill>
            <a:srgbClr val="BCC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6442075" y="2687638"/>
            <a:ext cx="1189038" cy="430212"/>
          </a:xfrm>
          <a:prstGeom prst="rect">
            <a:avLst/>
          </a:prstGeom>
          <a:solidFill>
            <a:srgbClr val="85A7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4" name="Straight Connector 13"/>
          <p:cNvCxnSpPr/>
          <p:nvPr/>
        </p:nvCxnSpPr>
        <p:spPr>
          <a:xfrm>
            <a:off x="0" y="6002338"/>
            <a:ext cx="9144000" cy="0"/>
          </a:xfrm>
          <a:prstGeom prst="line">
            <a:avLst/>
          </a:prstGeom>
          <a:ln w="53975">
            <a:solidFill>
              <a:srgbClr val="1652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7" name="Picture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172200"/>
            <a:ext cx="16764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-3175" y="304800"/>
            <a:ext cx="9144000" cy="952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Striving for Work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Chart 4"/>
          <p:cNvGraphicFramePr>
            <a:graphicFrameLocks/>
          </p:cNvGraphicFramePr>
          <p:nvPr/>
        </p:nvGraphicFramePr>
        <p:xfrm>
          <a:off x="990600" y="1155700"/>
          <a:ext cx="7162800" cy="4902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r:id="rId3" imgW="7163421" imgH="4907705" progId="Excel.Chart.8">
                  <p:embed/>
                </p:oleObj>
              </mc:Choice>
              <mc:Fallback>
                <p:oleObj r:id="rId3" imgW="7163421" imgH="4907705" progId="Excel.Chart.8">
                  <p:embed/>
                  <p:pic>
                    <p:nvPicPr>
                      <p:cNvPr id="0" name="Chart 4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0600" y="1155700"/>
                        <a:ext cx="7162800" cy="49022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>
            <a:off x="0" y="6002338"/>
            <a:ext cx="9144000" cy="0"/>
          </a:xfrm>
          <a:prstGeom prst="line">
            <a:avLst/>
          </a:prstGeom>
          <a:ln w="53975">
            <a:solidFill>
              <a:srgbClr val="1652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48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172200"/>
            <a:ext cx="16764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0" y="304800"/>
            <a:ext cx="9144000" cy="952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Hours Worked</a:t>
            </a:r>
          </a:p>
        </p:txBody>
      </p:sp>
      <p:sp>
        <p:nvSpPr>
          <p:cNvPr id="6150" name="TextBox 1"/>
          <p:cNvSpPr txBox="1">
            <a:spLocks noChangeArrowheads="1"/>
          </p:cNvSpPr>
          <p:nvPr/>
        </p:nvSpPr>
        <p:spPr bwMode="auto">
          <a:xfrm>
            <a:off x="1752600" y="2811463"/>
            <a:ext cx="1190625" cy="3698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>
                <a:latin typeface="Calibri" panose="020F0502020204030204" pitchFamily="34" charset="0"/>
              </a:rPr>
              <a:t>35.5 hours</a:t>
            </a:r>
          </a:p>
        </p:txBody>
      </p:sp>
      <p:sp>
        <p:nvSpPr>
          <p:cNvPr id="6151" name="TextBox 2"/>
          <p:cNvSpPr txBox="1">
            <a:spLocks noChangeArrowheads="1"/>
          </p:cNvSpPr>
          <p:nvPr/>
        </p:nvSpPr>
        <p:spPr bwMode="auto">
          <a:xfrm>
            <a:off x="4241800" y="1428750"/>
            <a:ext cx="7588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>
                <a:latin typeface="Calibri" panose="020F0502020204030204" pitchFamily="34" charset="0"/>
              </a:rPr>
              <a:t>60.7%</a:t>
            </a:r>
          </a:p>
        </p:txBody>
      </p:sp>
      <p:sp>
        <p:nvSpPr>
          <p:cNvPr id="6152" name="TextBox 3"/>
          <p:cNvSpPr txBox="1">
            <a:spLocks noChangeArrowheads="1"/>
          </p:cNvSpPr>
          <p:nvPr/>
        </p:nvSpPr>
        <p:spPr bwMode="auto">
          <a:xfrm>
            <a:off x="6602413" y="2514600"/>
            <a:ext cx="75882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b="1">
                <a:latin typeface="Calibri" panose="020F0502020204030204" pitchFamily="34" charset="0"/>
              </a:rPr>
              <a:t>40.6%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0" y="6002338"/>
            <a:ext cx="9144000" cy="0"/>
          </a:xfrm>
          <a:prstGeom prst="line">
            <a:avLst/>
          </a:prstGeom>
          <a:ln w="53975">
            <a:solidFill>
              <a:srgbClr val="1652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435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172200"/>
            <a:ext cx="16764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-3175" y="304800"/>
            <a:ext cx="9144000" cy="952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Overcoming Barriers in Job Search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1066800" y="1295400"/>
          <a:ext cx="7239000" cy="559755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53000"/>
                <a:gridCol w="1138353"/>
                <a:gridCol w="1147647"/>
              </a:tblGrid>
              <a:tr h="382443">
                <a:tc>
                  <a:txBody>
                    <a:bodyPr/>
                    <a:lstStyle/>
                    <a:p>
                      <a:pPr algn="l" fontAlgn="b"/>
                      <a:endParaRPr lang="en-US" sz="1900" b="1" i="0" u="none" strike="noStrike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</a:txBody>
                  <a:tcPr marR="7620" marT="805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Faced</a:t>
                      </a:r>
                      <a:endParaRPr lang="en-US" sz="1900" b="1" i="0" u="none" strike="noStrike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</a:txBody>
                  <a:tcPr marL="7620" marR="7620" marT="805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Overcome</a:t>
                      </a:r>
                      <a:endParaRPr lang="en-US" sz="1900" b="1" i="0" u="none" strike="noStrike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</a:txBody>
                  <a:tcPr marL="7620" marR="7620" marT="805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244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0" dirty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enough education or </a:t>
                      </a:r>
                      <a:r>
                        <a:rPr lang="en-US" sz="1900" b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aining………………..</a:t>
                      </a:r>
                      <a:endParaRPr lang="en-US" sz="19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0" dirty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.1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.5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8244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0" dirty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mployers assumed you can't </a:t>
                      </a:r>
                      <a:r>
                        <a:rPr lang="en-US" sz="1900" b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</a:t>
                      </a:r>
                      <a:r>
                        <a:rPr lang="en-US" sz="1900" b="0" baseline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the job………</a:t>
                      </a:r>
                      <a:endParaRPr lang="en-US" sz="19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6.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.8</a:t>
                      </a:r>
                    </a:p>
                  </a:txBody>
                  <a:tcPr marL="68580" marR="68580" marT="0" marB="0" anchor="ctr"/>
                </a:tc>
              </a:tr>
              <a:tr h="38244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0" dirty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ck of </a:t>
                      </a:r>
                      <a:r>
                        <a:rPr lang="en-US" sz="1900" b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ansportation…………………………….</a:t>
                      </a:r>
                      <a:endParaRPr lang="en-US" sz="19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0" dirty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.6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.9</a:t>
                      </a:r>
                    </a:p>
                  </a:txBody>
                  <a:tcPr marL="68580" marR="68580" marT="0" marB="0" anchor="ctr"/>
                </a:tc>
              </a:tr>
              <a:tr h="38244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9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9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900" b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8244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9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9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9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8244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0" dirty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ing denied health </a:t>
                      </a:r>
                      <a:r>
                        <a:rPr lang="en-US" sz="1900" b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s,</a:t>
                      </a:r>
                      <a:r>
                        <a:rPr lang="en-US" sz="1900" b="0" baseline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900" b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ork-related benefits...</a:t>
                      </a:r>
                      <a:endParaRPr lang="en-US" sz="19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0" dirty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.8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0" dirty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.3</a:t>
                      </a:r>
                    </a:p>
                  </a:txBody>
                  <a:tcPr marL="68580" marR="68580" marT="0" marB="0" anchor="ctr"/>
                </a:tc>
              </a:tr>
              <a:tr h="38244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9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9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9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8244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9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9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9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8244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0" dirty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amily discouraged you from </a:t>
                      </a:r>
                      <a:r>
                        <a:rPr lang="en-US" sz="1900" b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orking………….</a:t>
                      </a:r>
                      <a:endParaRPr lang="en-US" sz="19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.4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0" dirty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3.1</a:t>
                      </a:r>
                    </a:p>
                  </a:txBody>
                  <a:tcPr marL="68580" marR="68580" marT="0" marB="0" anchor="ctr"/>
                </a:tc>
              </a:tr>
              <a:tr h="382443"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</a:txBody>
                  <a:tcPr marR="7620" marT="8051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9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9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0" y="6002338"/>
            <a:ext cx="9144000" cy="0"/>
          </a:xfrm>
          <a:prstGeom prst="line">
            <a:avLst/>
          </a:prstGeom>
          <a:ln w="53975">
            <a:solidFill>
              <a:srgbClr val="1652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459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172200"/>
            <a:ext cx="16764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-3175" y="304800"/>
            <a:ext cx="9144000" cy="952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Overcoming Barriers at Work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1066800" y="1295400"/>
          <a:ext cx="7239000" cy="658248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53000"/>
                <a:gridCol w="1138353"/>
                <a:gridCol w="1147647"/>
              </a:tblGrid>
              <a:tr h="418174">
                <a:tc>
                  <a:txBody>
                    <a:bodyPr/>
                    <a:lstStyle/>
                    <a:p>
                      <a:pPr algn="l" fontAlgn="b"/>
                      <a:endParaRPr lang="en-US" sz="2100" b="1" i="0" u="none" strike="noStrike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</a:txBody>
                  <a:tcPr marR="7620" marT="8804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Faced</a:t>
                      </a:r>
                      <a:endParaRPr lang="en-US" sz="2100" b="1" i="0" u="none" strike="noStrike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</a:txBody>
                  <a:tcPr marL="7620" marR="7620" marT="8804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Overcome</a:t>
                      </a:r>
                      <a:endParaRPr lang="en-US" sz="2100" b="1" i="0" u="none" strike="noStrike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</a:txBody>
                  <a:tcPr marL="7620" marR="7620" marT="8804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817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b="0" dirty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etting less pay than others in a similar </a:t>
                      </a:r>
                      <a:r>
                        <a:rPr lang="en-US" sz="2100" b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ob…...</a:t>
                      </a:r>
                      <a:endParaRPr lang="en-US" sz="21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b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.5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b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.6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41817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b="0" dirty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gative attitudes on the part of </a:t>
                      </a:r>
                      <a:r>
                        <a:rPr lang="en-US" sz="2100" b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upervisor……</a:t>
                      </a:r>
                      <a:endParaRPr lang="en-US" sz="21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b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.7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b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.3</a:t>
                      </a:r>
                    </a:p>
                  </a:txBody>
                  <a:tcPr marL="68580" marR="68580" marT="0" marB="0" anchor="ctr"/>
                </a:tc>
              </a:tr>
              <a:tr h="41817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b="0" dirty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gative attitudes on the part of </a:t>
                      </a:r>
                      <a:r>
                        <a:rPr lang="en-US" sz="2100" b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workers……</a:t>
                      </a:r>
                      <a:endParaRPr lang="en-US" sz="21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b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.5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b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4.5</a:t>
                      </a:r>
                    </a:p>
                  </a:txBody>
                  <a:tcPr marL="68580" marR="68580" marT="0" marB="0" anchor="ctr"/>
                </a:tc>
              </a:tr>
              <a:tr h="41817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1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100" b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100" b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1817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1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100" b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100" b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1817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1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1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100" b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1817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1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1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100" b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1817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1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1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1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1817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b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amily members discouraged you………………</a:t>
                      </a:r>
                      <a:endParaRPr lang="en-US" sz="21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b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.5</a:t>
                      </a:r>
                      <a:endParaRPr lang="en-US" sz="21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b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4.3</a:t>
                      </a:r>
                      <a:endParaRPr lang="en-US" sz="21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1817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1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1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1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1817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b="0" dirty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ck of job </a:t>
                      </a:r>
                      <a:r>
                        <a:rPr lang="en-US" sz="2100" b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unseling……………………………</a:t>
                      </a:r>
                      <a:endParaRPr lang="en-US" sz="21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b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5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b="0" dirty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.3</a:t>
                      </a: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3000"/>
            <a:ext cx="9144000" cy="685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0800"/>
            <a:ext cx="9144000" cy="68580"/>
          </a:xfrm>
          <a:prstGeom prst="rect">
            <a:avLst/>
          </a:prstGeom>
        </p:spPr>
      </p:pic>
      <p:sp>
        <p:nvSpPr>
          <p:cNvPr id="8" name="Content Placeholder 1"/>
          <p:cNvSpPr txBox="1">
            <a:spLocks/>
          </p:cNvSpPr>
          <p:nvPr/>
        </p:nvSpPr>
        <p:spPr>
          <a:xfrm>
            <a:off x="457200" y="1787126"/>
            <a:ext cx="6553200" cy="3851674"/>
          </a:xfrm>
          <a:prstGeom prst="rect">
            <a:avLst/>
          </a:prstGeom>
        </p:spPr>
        <p:txBody>
          <a:bodyPr vert="horz" lIns="68580" tIns="34290" rIns="68580" bIns="34290" rtlCol="0">
            <a:normAutofit fontScale="92500"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Adobe Garamond Pro" pitchFamily="18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1800"/>
              </a:spcAft>
            </a:pPr>
            <a:r>
              <a:rPr lang="en-US" sz="1800" b="1" dirty="0">
                <a:solidFill>
                  <a:srgbClr val="002060"/>
                </a:solidFill>
                <a:latin typeface="Georgia" panose="02040502050405020303" pitchFamily="18" charset="0"/>
              </a:rPr>
              <a:t>Access the Help Desk</a:t>
            </a:r>
            <a:r>
              <a:rPr lang="en-US" sz="1800" dirty="0">
                <a:solidFill>
                  <a:srgbClr val="002060"/>
                </a:solidFill>
                <a:latin typeface="Georgia" panose="02040502050405020303" pitchFamily="18" charset="0"/>
              </a:rPr>
              <a:t>: </a:t>
            </a:r>
            <a:r>
              <a:rPr lang="en-US" sz="18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Georgia" panose="02040502050405020303" pitchFamily="18" charset="0"/>
              </a:rPr>
              <a:t>Select the “Help” option in the toolbar at the top of your </a:t>
            </a:r>
            <a:r>
              <a:rPr lang="en-US" sz="1800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Georgia" panose="02040502050405020303" pitchFamily="18" charset="0"/>
              </a:rPr>
              <a:t>GoToWebinar</a:t>
            </a:r>
            <a:r>
              <a:rPr lang="en-US" sz="1800" dirty="0">
                <a:solidFill>
                  <a:prstClr val="black">
                    <a:lumMod val="65000"/>
                    <a:lumOff val="35000"/>
                  </a:prstClr>
                </a:solidFill>
                <a:latin typeface="Georgia" panose="02040502050405020303" pitchFamily="18" charset="0"/>
              </a:rPr>
              <a:t> </a:t>
            </a:r>
            <a:r>
              <a:rPr lang="en-US" sz="18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Georgia" panose="02040502050405020303" pitchFamily="18" charset="0"/>
              </a:rPr>
              <a:t>navigation panel.</a:t>
            </a:r>
            <a:endParaRPr lang="en-US" sz="1800" dirty="0">
              <a:solidFill>
                <a:prstClr val="black">
                  <a:lumMod val="65000"/>
                  <a:lumOff val="35000"/>
                </a:prstClr>
              </a:solidFill>
              <a:latin typeface="Georgia" panose="02040502050405020303" pitchFamily="18" charset="0"/>
            </a:endParaRPr>
          </a:p>
          <a:p>
            <a:pPr algn="l" fontAlgn="auto">
              <a:spcAft>
                <a:spcPts val="1800"/>
              </a:spcAft>
            </a:pPr>
            <a:r>
              <a:rPr lang="en-US" sz="1800" b="1" dirty="0">
                <a:solidFill>
                  <a:srgbClr val="002060"/>
                </a:solidFill>
                <a:latin typeface="Georgia" panose="02040502050405020303" pitchFamily="18" charset="0"/>
              </a:rPr>
              <a:t>Ask a Question of the Presenters</a:t>
            </a:r>
            <a:r>
              <a:rPr lang="en-US" sz="1800" dirty="0">
                <a:solidFill>
                  <a:srgbClr val="002060"/>
                </a:solidFill>
                <a:latin typeface="Georgia" panose="02040502050405020303" pitchFamily="18" charset="0"/>
              </a:rPr>
              <a:t>: </a:t>
            </a:r>
            <a:r>
              <a:rPr lang="en-US" sz="1800" dirty="0">
                <a:solidFill>
                  <a:prstClr val="black">
                    <a:lumMod val="65000"/>
                    <a:lumOff val="35000"/>
                  </a:prstClr>
                </a:solidFill>
                <a:latin typeface="Georgia" panose="02040502050405020303" pitchFamily="18" charset="0"/>
              </a:rPr>
              <a:t>Click the </a:t>
            </a:r>
            <a:r>
              <a:rPr lang="en-US" sz="18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Georgia" panose="02040502050405020303" pitchFamily="18" charset="0"/>
              </a:rPr>
              <a:t>“Questions” box to type a question for the presenters. </a:t>
            </a:r>
            <a:endParaRPr lang="en-US" sz="1800" dirty="0">
              <a:solidFill>
                <a:prstClr val="black">
                  <a:lumMod val="65000"/>
                  <a:lumOff val="35000"/>
                </a:prstClr>
              </a:solidFill>
              <a:latin typeface="Georgia" panose="02040502050405020303" pitchFamily="18" charset="0"/>
            </a:endParaRPr>
          </a:p>
          <a:p>
            <a:pPr algn="l" fontAlgn="auto">
              <a:spcAft>
                <a:spcPts val="1800"/>
              </a:spcAft>
            </a:pPr>
            <a:r>
              <a:rPr lang="en-US" sz="1800" b="1" dirty="0">
                <a:solidFill>
                  <a:srgbClr val="002060"/>
                </a:solidFill>
                <a:latin typeface="Georgia" panose="02040502050405020303" pitchFamily="18" charset="0"/>
              </a:rPr>
              <a:t>Exit the Webinar</a:t>
            </a:r>
            <a:r>
              <a:rPr lang="en-US" sz="1800" dirty="0">
                <a:solidFill>
                  <a:srgbClr val="002060"/>
                </a:solidFill>
                <a:latin typeface="Georgia" panose="02040502050405020303" pitchFamily="18" charset="0"/>
              </a:rPr>
              <a:t>: </a:t>
            </a:r>
            <a:r>
              <a:rPr lang="en-US" sz="1800" dirty="0">
                <a:solidFill>
                  <a:prstClr val="black">
                    <a:lumMod val="65000"/>
                    <a:lumOff val="35000"/>
                  </a:prstClr>
                </a:solidFill>
                <a:latin typeface="Georgia" panose="02040502050405020303" pitchFamily="18" charset="0"/>
              </a:rPr>
              <a:t>Click the gray “X” in upper right corner of the gray webinar navigation bar. </a:t>
            </a:r>
          </a:p>
          <a:p>
            <a:pPr algn="l" fontAlgn="auto">
              <a:spcAft>
                <a:spcPts val="1800"/>
              </a:spcAft>
            </a:pPr>
            <a:r>
              <a:rPr lang="en-US" sz="1800" b="1" dirty="0">
                <a:solidFill>
                  <a:srgbClr val="002060"/>
                </a:solidFill>
                <a:latin typeface="Georgia" panose="02040502050405020303" pitchFamily="18" charset="0"/>
              </a:rPr>
              <a:t>For Telephone Participants</a:t>
            </a:r>
            <a:r>
              <a:rPr lang="en-US" sz="1800" dirty="0">
                <a:solidFill>
                  <a:srgbClr val="002060"/>
                </a:solidFill>
                <a:latin typeface="Georgia" panose="02040502050405020303" pitchFamily="18" charset="0"/>
              </a:rPr>
              <a:t>: </a:t>
            </a:r>
            <a:r>
              <a:rPr lang="en-US" sz="1800" dirty="0">
                <a:solidFill>
                  <a:prstClr val="black">
                    <a:lumMod val="65000"/>
                    <a:lumOff val="35000"/>
                  </a:prstClr>
                </a:solidFill>
                <a:latin typeface="Georgia" panose="02040502050405020303" pitchFamily="18" charset="0"/>
              </a:rPr>
              <a:t>If you are using the telephone to listen to the webinar, please make sure to use a landline to ensure call clarity. </a:t>
            </a:r>
            <a:endParaRPr lang="en-US" sz="1800" dirty="0" smtClean="0">
              <a:solidFill>
                <a:prstClr val="black">
                  <a:lumMod val="65000"/>
                  <a:lumOff val="35000"/>
                </a:prstClr>
              </a:solidFill>
              <a:latin typeface="Georgia" panose="02040502050405020303" pitchFamily="18" charset="0"/>
            </a:endParaRPr>
          </a:p>
          <a:p>
            <a:pPr algn="l" fontAlgn="auto">
              <a:spcAft>
                <a:spcPts val="1800"/>
              </a:spcAft>
            </a:pPr>
            <a:r>
              <a:rPr lang="en-US" sz="1800" b="1" dirty="0" smtClean="0">
                <a:solidFill>
                  <a:srgbClr val="002060"/>
                </a:solidFill>
                <a:latin typeface="Georgia" panose="02040502050405020303" pitchFamily="18" charset="0"/>
              </a:rPr>
              <a:t>Webinar Recording</a:t>
            </a:r>
            <a:r>
              <a:rPr lang="en-US" sz="1800" dirty="0" smtClean="0">
                <a:solidFill>
                  <a:srgbClr val="002060"/>
                </a:solidFill>
                <a:latin typeface="Georgia" panose="02040502050405020303" pitchFamily="18" charset="0"/>
              </a:rPr>
              <a:t>: </a:t>
            </a:r>
            <a:r>
              <a:rPr lang="en-US" sz="18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Georgia" panose="02040502050405020303" pitchFamily="18" charset="0"/>
              </a:rPr>
              <a:t>A recording of this webinar will be made available shortly after the webinar’s conclusion. </a:t>
            </a:r>
            <a:endParaRPr lang="en-US" sz="1800" dirty="0">
              <a:solidFill>
                <a:prstClr val="black">
                  <a:lumMod val="65000"/>
                  <a:lumOff val="35000"/>
                </a:prstClr>
              </a:solidFill>
              <a:latin typeface="Georgia" panose="02040502050405020303" pitchFamily="18" charset="0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457200" y="55984"/>
            <a:ext cx="8229600" cy="103878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002D4D"/>
                </a:solidFill>
                <a:latin typeface="Adobe Garamond Pro Bold" pitchFamily="18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3600" dirty="0">
                <a:solidFill>
                  <a:srgbClr val="002060"/>
                </a:solidFill>
                <a:latin typeface="Georgia" panose="02040502050405020303" pitchFamily="18" charset="0"/>
              </a:rPr>
              <a:t>Housekeeping Items</a:t>
            </a:r>
          </a:p>
        </p:txBody>
      </p:sp>
      <p:pic>
        <p:nvPicPr>
          <p:cNvPr id="1026" name="Picture 2" descr="d:\Users\grays\AppData\Local\Microsoft\Windows\Temporary Internet Files\Content.Outlook\DWRVJW2D\G2W Questions Panel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2587" y="1787126"/>
            <a:ext cx="1706880" cy="2790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9921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-3175" y="304800"/>
            <a:ext cx="9144000" cy="952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Key Takeaways</a:t>
            </a:r>
          </a:p>
        </p:txBody>
      </p:sp>
      <p:sp>
        <p:nvSpPr>
          <p:cNvPr id="2" name="Rectangle 1"/>
          <p:cNvSpPr/>
          <p:nvPr/>
        </p:nvSpPr>
        <p:spPr>
          <a:xfrm>
            <a:off x="762000" y="1524000"/>
            <a:ext cx="7553325" cy="4495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285750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400" dirty="0">
                <a:cs typeface="Times New Roman" panose="02020603050405020304" pitchFamily="18" charset="0"/>
              </a:rPr>
              <a:t>Work is very important to many people with disabilities.</a:t>
            </a:r>
          </a:p>
          <a:p>
            <a:pPr marL="742950" lvl="1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400" dirty="0">
                <a:cs typeface="Times New Roman" panose="02020603050405020304" pitchFamily="18" charset="0"/>
              </a:rPr>
              <a:t>They show it in the things they do to search for jobs, prepare for employment, and overcome barriers.</a:t>
            </a:r>
          </a:p>
          <a:p>
            <a:pPr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defRPr/>
            </a:pPr>
            <a:endParaRPr lang="en-US" sz="1050" dirty="0">
              <a:cs typeface="Times New Roman" panose="02020603050405020304" pitchFamily="18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400" dirty="0">
                <a:cs typeface="Times New Roman" panose="02020603050405020304" pitchFamily="18" charset="0"/>
              </a:rPr>
              <a:t>People with disabilities are striving to work:</a:t>
            </a:r>
          </a:p>
          <a:p>
            <a:pPr marL="742950" lvl="1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400" dirty="0">
                <a:cs typeface="Times New Roman" panose="02020603050405020304" pitchFamily="18" charset="0"/>
              </a:rPr>
              <a:t>working, 		</a:t>
            </a:r>
            <a:r>
              <a:rPr lang="en-US" sz="2400" baseline="20000" dirty="0">
                <a:solidFill>
                  <a:srgbClr val="056396"/>
                </a:solidFill>
                <a:cs typeface="Times New Roman" panose="02020603050405020304" pitchFamily="18" charset="0"/>
                <a:sym typeface="Wingdings 2"/>
              </a:rPr>
              <a:t></a:t>
            </a:r>
            <a:r>
              <a:rPr lang="en-US" sz="2400" dirty="0">
                <a:cs typeface="Times New Roman" panose="02020603050405020304" pitchFamily="18" charset="0"/>
              </a:rPr>
              <a:t> looking for work, and</a:t>
            </a:r>
          </a:p>
          <a:p>
            <a:pPr marL="742950" lvl="1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400" dirty="0">
                <a:cs typeface="Times New Roman" panose="02020603050405020304" pitchFamily="18" charset="0"/>
              </a:rPr>
              <a:t>preparing for work,	</a:t>
            </a:r>
            <a:r>
              <a:rPr lang="en-US" sz="2400" baseline="20000" dirty="0">
                <a:solidFill>
                  <a:srgbClr val="056396"/>
                </a:solidFill>
                <a:cs typeface="Times New Roman" panose="02020603050405020304" pitchFamily="18" charset="0"/>
                <a:sym typeface="Wingdings 2"/>
              </a:rPr>
              <a:t></a:t>
            </a:r>
            <a:r>
              <a:rPr lang="en-US" sz="2400" dirty="0">
                <a:cs typeface="Times New Roman" panose="02020603050405020304" pitchFamily="18" charset="0"/>
              </a:rPr>
              <a:t> worked post-onset.</a:t>
            </a:r>
          </a:p>
          <a:p>
            <a:pPr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defRPr/>
            </a:pPr>
            <a:endParaRPr lang="en-US" sz="1050" dirty="0">
              <a:cs typeface="Times New Roman" panose="02020603050405020304" pitchFamily="18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600"/>
              </a:spcAft>
              <a:buClr>
                <a:srgbClr val="056396"/>
              </a:buClr>
              <a:buSzPct val="130000"/>
              <a:buFont typeface="Wingdings" panose="05000000000000000000" pitchFamily="2" charset="2"/>
              <a:buChar char="§"/>
              <a:defRPr/>
            </a:pPr>
            <a:r>
              <a:rPr lang="en-US" sz="2400" dirty="0">
                <a:cs typeface="Times New Roman" panose="02020603050405020304" pitchFamily="18" charset="0"/>
              </a:rPr>
              <a:t>Many are </a:t>
            </a:r>
            <a:r>
              <a:rPr lang="en-US" sz="2400" u="sng" dirty="0">
                <a:cs typeface="Times New Roman" panose="02020603050405020304" pitchFamily="18" charset="0"/>
              </a:rPr>
              <a:t>successfully overcoming barriers</a:t>
            </a:r>
            <a:r>
              <a:rPr lang="en-US" sz="2400" dirty="0">
                <a:cs typeface="Times New Roman" panose="02020603050405020304" pitchFamily="18" charset="0"/>
              </a:rPr>
              <a:t>, when they are looking for work and in the workplace.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0" y="6002338"/>
            <a:ext cx="9144000" cy="0"/>
          </a:xfrm>
          <a:prstGeom prst="line">
            <a:avLst/>
          </a:prstGeom>
          <a:ln w="53975">
            <a:solidFill>
              <a:srgbClr val="1652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48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172200"/>
            <a:ext cx="16764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val 28"/>
          <p:cNvSpPr/>
          <p:nvPr/>
        </p:nvSpPr>
        <p:spPr>
          <a:xfrm>
            <a:off x="1789113" y="5862638"/>
            <a:ext cx="4846637" cy="825500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n w="3175" cmpd="sng">
                <a:solidFill>
                  <a:srgbClr val="000000"/>
                </a:solidFill>
              </a:ln>
            </a:endParaRPr>
          </a:p>
        </p:txBody>
      </p:sp>
      <p:sp>
        <p:nvSpPr>
          <p:cNvPr id="21507" name="Title 1"/>
          <p:cNvSpPr>
            <a:spLocks noGrp="1"/>
          </p:cNvSpPr>
          <p:nvPr>
            <p:ph type="title"/>
          </p:nvPr>
        </p:nvSpPr>
        <p:spPr>
          <a:xfrm>
            <a:off x="457200" y="52388"/>
            <a:ext cx="7620000" cy="1143000"/>
          </a:xfrm>
        </p:spPr>
        <p:txBody>
          <a:bodyPr/>
          <a:lstStyle/>
          <a:p>
            <a:pPr eaLnBrk="1" hangingPunct="1"/>
            <a:r>
              <a:rPr lang="en-US" altLang="en-US" sz="3600" i="1" dirty="0" smtClean="0">
                <a:solidFill>
                  <a:srgbClr val="002060"/>
                </a:solidFill>
                <a:latin typeface="Georgia" panose="02040502050405020303" pitchFamily="18" charset="0"/>
              </a:rPr>
              <a:t>Putting Faith to Work </a:t>
            </a:r>
            <a:r>
              <a:rPr lang="en-US" altLang="en-US" sz="3600" dirty="0" smtClean="0">
                <a:solidFill>
                  <a:srgbClr val="002060"/>
                </a:solidFill>
                <a:latin typeface="Georgia" panose="02040502050405020303" pitchFamily="18" charset="0"/>
              </a:rPr>
              <a:t>Model</a:t>
            </a:r>
          </a:p>
        </p:txBody>
      </p:sp>
      <p:pic>
        <p:nvPicPr>
          <p:cNvPr id="21508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09"/>
          <a:stretch>
            <a:fillRect/>
          </a:stretch>
        </p:blipFill>
        <p:spPr bwMode="auto">
          <a:xfrm>
            <a:off x="3240088" y="1092200"/>
            <a:ext cx="1393825" cy="167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509" name="TextBox 4"/>
          <p:cNvSpPr txBox="1">
            <a:spLocks noChangeArrowheads="1"/>
          </p:cNvSpPr>
          <p:nvPr/>
        </p:nvSpPr>
        <p:spPr bwMode="auto">
          <a:xfrm>
            <a:off x="31750" y="1577975"/>
            <a:ext cx="2824163" cy="1169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400">
                <a:latin typeface="Calibri" panose="020F0502020204030204" pitchFamily="34" charset="0"/>
              </a:rPr>
              <a:t>Training</a:t>
            </a:r>
          </a:p>
          <a:p>
            <a:pPr algn="ctr" eaLnBrk="1" hangingPunct="1"/>
            <a:r>
              <a:rPr lang="en-US" altLang="en-US" sz="1400">
                <a:latin typeface="Calibri" panose="020F0502020204030204" pitchFamily="34" charset="0"/>
              </a:rPr>
              <a:t>Technical Assistance</a:t>
            </a:r>
          </a:p>
          <a:p>
            <a:pPr algn="ctr" eaLnBrk="1" hangingPunct="1"/>
            <a:r>
              <a:rPr lang="en-US" altLang="en-US" sz="1400">
                <a:latin typeface="Calibri" panose="020F0502020204030204" pitchFamily="34" charset="0"/>
              </a:rPr>
              <a:t>Linkages to Services &amp; Resources</a:t>
            </a:r>
          </a:p>
          <a:p>
            <a:pPr algn="ctr" eaLnBrk="1" hangingPunct="1"/>
            <a:r>
              <a:rPr lang="en-US" altLang="en-US" sz="1400">
                <a:latin typeface="Calibri" panose="020F0502020204030204" pitchFamily="34" charset="0"/>
              </a:rPr>
              <a:t>Connections to Other Congregations</a:t>
            </a:r>
          </a:p>
          <a:p>
            <a:pPr algn="ctr" eaLnBrk="1" hangingPunct="1"/>
            <a:endParaRPr lang="en-US" altLang="en-US" sz="1400">
              <a:latin typeface="Calibri" panose="020F0502020204030204" pitchFamily="34" charset="0"/>
            </a:endParaRPr>
          </a:p>
        </p:txBody>
      </p:sp>
      <p:sp>
        <p:nvSpPr>
          <p:cNvPr id="6" name="Up Arrow 5"/>
          <p:cNvSpPr/>
          <p:nvPr/>
        </p:nvSpPr>
        <p:spPr>
          <a:xfrm rot="5400000">
            <a:off x="2652713" y="1662113"/>
            <a:ext cx="561975" cy="612775"/>
          </a:xfrm>
          <a:prstGeom prst="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aphicFrame>
        <p:nvGraphicFramePr>
          <p:cNvPr id="9" name="Diagram 8"/>
          <p:cNvGraphicFramePr/>
          <p:nvPr/>
        </p:nvGraphicFramePr>
        <p:xfrm>
          <a:off x="190492" y="4201583"/>
          <a:ext cx="8085676" cy="17674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cxnSp>
        <p:nvCxnSpPr>
          <p:cNvPr id="12" name="Straight Arrow Connector 11"/>
          <p:cNvCxnSpPr/>
          <p:nvPr/>
        </p:nvCxnSpPr>
        <p:spPr>
          <a:xfrm flipH="1">
            <a:off x="877888" y="3798888"/>
            <a:ext cx="3175000" cy="100647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1570038" y="3798888"/>
            <a:ext cx="2482850" cy="100647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H="1">
            <a:off x="2649538" y="3798888"/>
            <a:ext cx="1403350" cy="100647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>
            <a:off x="3751263" y="3798888"/>
            <a:ext cx="301625" cy="100647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4052888" y="3798888"/>
            <a:ext cx="723900" cy="100647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4052888" y="3798888"/>
            <a:ext cx="1755775" cy="100647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4052888" y="3798888"/>
            <a:ext cx="2760662" cy="100647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4052888" y="3798888"/>
            <a:ext cx="3860800" cy="100647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Screen shot 2012-10-10 at 12.54.03 PM.png"/>
          <p:cNvPicPr>
            <a:picLocks noChangeAspect="1"/>
          </p:cNvPicPr>
          <p:nvPr/>
        </p:nvPicPr>
        <p:blipFill>
          <a:blip r:embed="rId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/>
          </a:blip>
          <a:stretch>
            <a:fillRect/>
          </a:stretch>
        </p:blipFill>
        <p:spPr>
          <a:xfrm>
            <a:off x="2489200" y="2768940"/>
            <a:ext cx="3280832" cy="1769076"/>
          </a:xfrm>
          <a:prstGeom prst="rect">
            <a:avLst/>
          </a:prstGeom>
        </p:spPr>
      </p:pic>
      <p:sp>
        <p:nvSpPr>
          <p:cNvPr id="21521" name="TextBox 9"/>
          <p:cNvSpPr txBox="1">
            <a:spLocks noChangeArrowheads="1"/>
          </p:cNvSpPr>
          <p:nvPr/>
        </p:nvSpPr>
        <p:spPr bwMode="auto">
          <a:xfrm>
            <a:off x="3157538" y="3238500"/>
            <a:ext cx="1865312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bg1"/>
                </a:solidFill>
                <a:latin typeface="Calibri" panose="020F0502020204030204" pitchFamily="34" charset="0"/>
              </a:rPr>
              <a:t>Congregation</a:t>
            </a:r>
          </a:p>
          <a:p>
            <a:pPr algn="ctr" eaLnBrk="1" hangingPunct="1"/>
            <a:r>
              <a:rPr lang="en-US" altLang="en-US" sz="2400">
                <a:solidFill>
                  <a:schemeClr val="bg1"/>
                </a:solidFill>
                <a:latin typeface="Calibri" panose="020F0502020204030204" pitchFamily="34" charset="0"/>
              </a:rPr>
              <a:t>Members</a:t>
            </a:r>
          </a:p>
        </p:txBody>
      </p:sp>
      <p:sp>
        <p:nvSpPr>
          <p:cNvPr id="21522" name="TextBox 19"/>
          <p:cNvSpPr txBox="1">
            <a:spLocks noChangeArrowheads="1"/>
          </p:cNvSpPr>
          <p:nvPr/>
        </p:nvSpPr>
        <p:spPr bwMode="auto">
          <a:xfrm>
            <a:off x="2368550" y="5862638"/>
            <a:ext cx="3609975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2400">
                <a:solidFill>
                  <a:schemeClr val="bg1"/>
                </a:solidFill>
                <a:latin typeface="Calibri" panose="020F0502020204030204" pitchFamily="34" charset="0"/>
              </a:rPr>
              <a:t>Access to Meaningful Work</a:t>
            </a:r>
          </a:p>
          <a:p>
            <a:pPr algn="ctr" eaLnBrk="1" hangingPunct="1"/>
            <a:r>
              <a:rPr lang="en-US" altLang="en-US" sz="2400">
                <a:solidFill>
                  <a:schemeClr val="bg1"/>
                </a:solidFill>
                <a:latin typeface="Calibri" panose="020F0502020204030204" pitchFamily="34" charset="0"/>
              </a:rPr>
              <a:t>For People with Disabilities</a:t>
            </a:r>
          </a:p>
        </p:txBody>
      </p:sp>
      <p:pic>
        <p:nvPicPr>
          <p:cNvPr id="21523" name="Picture 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6350" y="1371600"/>
            <a:ext cx="787400" cy="877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24" name="Picture 6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8575" y="2249488"/>
            <a:ext cx="682625" cy="757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25" name="Picture 1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5688" y="436563"/>
            <a:ext cx="1017587" cy="93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Arrow Connector 15"/>
          <p:cNvCxnSpPr>
            <a:stCxn id="4" idx="3"/>
          </p:cNvCxnSpPr>
          <p:nvPr/>
        </p:nvCxnSpPr>
        <p:spPr>
          <a:xfrm flipV="1">
            <a:off x="4633913" y="1195388"/>
            <a:ext cx="2478087" cy="73183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4" idx="3"/>
          </p:cNvCxnSpPr>
          <p:nvPr/>
        </p:nvCxnSpPr>
        <p:spPr>
          <a:xfrm>
            <a:off x="4633913" y="1927225"/>
            <a:ext cx="2549525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4" idx="3"/>
          </p:cNvCxnSpPr>
          <p:nvPr/>
        </p:nvCxnSpPr>
        <p:spPr>
          <a:xfrm>
            <a:off x="4633913" y="1927225"/>
            <a:ext cx="2549525" cy="74453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1529" name="Picture 3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7938" y="3006725"/>
            <a:ext cx="703262" cy="93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4" name="Straight Arrow Connector 33"/>
          <p:cNvCxnSpPr>
            <a:stCxn id="4" idx="3"/>
          </p:cNvCxnSpPr>
          <p:nvPr/>
        </p:nvCxnSpPr>
        <p:spPr>
          <a:xfrm>
            <a:off x="4633913" y="1927225"/>
            <a:ext cx="2884487" cy="131127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6" descr="C2C BRIDGING THE GAP LOGO-ppt presnt graphic20.t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1" name="Title 1"/>
          <p:cNvSpPr>
            <a:spLocks noGrp="1"/>
          </p:cNvSpPr>
          <p:nvPr>
            <p:ph type="ctrTitle"/>
          </p:nvPr>
        </p:nvSpPr>
        <p:spPr>
          <a:xfrm>
            <a:off x="1371600" y="685800"/>
            <a:ext cx="6400800" cy="457200"/>
          </a:xfrm>
        </p:spPr>
        <p:txBody>
          <a:bodyPr/>
          <a:lstStyle/>
          <a:p>
            <a:pPr eaLnBrk="1" hangingPunct="1"/>
            <a:r>
              <a:rPr lang="en-US" altLang="en-US" sz="2800" b="1" dirty="0" smtClean="0">
                <a:solidFill>
                  <a:srgbClr val="182D5A"/>
                </a:solidFill>
              </a:rPr>
              <a:t>KESSLER’s Signature Employment Grant</a:t>
            </a:r>
            <a:endParaRPr lang="en-US" altLang="en-US" sz="2800" dirty="0" smtClean="0">
              <a:solidFill>
                <a:srgbClr val="182D5A"/>
              </a:solidFill>
            </a:endParaRPr>
          </a:p>
        </p:txBody>
      </p:sp>
      <p:sp>
        <p:nvSpPr>
          <p:cNvPr id="22532" name="Rectangle 5"/>
          <p:cNvSpPr>
            <a:spLocks noChangeArrowheads="1"/>
          </p:cNvSpPr>
          <p:nvPr/>
        </p:nvSpPr>
        <p:spPr bwMode="auto">
          <a:xfrm>
            <a:off x="685800" y="209550"/>
            <a:ext cx="18383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b="1" i="1">
                <a:solidFill>
                  <a:srgbClr val="182D5A"/>
                </a:solidFill>
                <a:latin typeface="Vrinda" panose="020B0502040204020203" pitchFamily="34" charset="0"/>
                <a:ea typeface="Verdana" panose="020B0604030504040204" pitchFamily="34" charset="0"/>
                <a:cs typeface="Vrinda" panose="020B0502040204020203" pitchFamily="34" charset="0"/>
              </a:rPr>
              <a:t>INTRODUCT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3352800" y="2514600"/>
            <a:ext cx="2286000" cy="1143000"/>
          </a:xfrm>
          <a:prstGeom prst="rect">
            <a:avLst/>
          </a:prstGeom>
          <a:solidFill>
            <a:srgbClr val="FEFFD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rgbClr val="182D5A"/>
                </a:solidFill>
              </a:rPr>
              <a:t>KESSLER Foundation Signature Employment Grant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352800" y="3657600"/>
            <a:ext cx="2286000" cy="1143000"/>
          </a:xfrm>
          <a:prstGeom prst="rect">
            <a:avLst/>
          </a:prstGeom>
          <a:solidFill>
            <a:srgbClr val="182D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rgbClr val="FEFFDB"/>
                </a:solidFill>
              </a:rPr>
              <a:t>Interwork Institut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rgbClr val="FEFFDB"/>
                </a:solidFill>
              </a:rPr>
              <a:t>C2C-Bridging the Gap</a:t>
            </a:r>
          </a:p>
        </p:txBody>
      </p:sp>
      <p:grpSp>
        <p:nvGrpSpPr>
          <p:cNvPr id="2" name="Group 11"/>
          <p:cNvGrpSpPr/>
          <p:nvPr/>
        </p:nvGrpSpPr>
        <p:grpSpPr>
          <a:xfrm>
            <a:off x="4495800" y="1371600"/>
            <a:ext cx="2286000" cy="2286000"/>
            <a:chOff x="4495800" y="1219200"/>
            <a:chExt cx="2286000" cy="2286000"/>
          </a:xfrm>
          <a:solidFill>
            <a:srgbClr val="495E0A"/>
          </a:solidFill>
        </p:grpSpPr>
        <p:sp>
          <p:nvSpPr>
            <p:cNvPr id="13" name="L-Shape 12"/>
            <p:cNvSpPr/>
            <p:nvPr/>
          </p:nvSpPr>
          <p:spPr>
            <a:xfrm rot="10800000">
              <a:off x="4495800" y="1219200"/>
              <a:ext cx="2286000" cy="2286000"/>
            </a:xfrm>
            <a:prstGeom prst="corner">
              <a:avLst>
                <a:gd name="adj1" fmla="val 50000"/>
                <a:gd name="adj2" fmla="val 49192"/>
              </a:avLst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4572000" y="1524000"/>
              <a:ext cx="2133600" cy="646331"/>
            </a:xfrm>
            <a:prstGeom prst="rect">
              <a:avLst/>
            </a:prstGeom>
            <a:grp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b="1" dirty="0">
                  <a:solidFill>
                    <a:srgbClr val="FEFFDB"/>
                  </a:solidFill>
                  <a:latin typeface="+mn-lt"/>
                  <a:cs typeface="+mn-cs"/>
                </a:rPr>
                <a:t>Business Leadership Network (BLN)</a:t>
              </a:r>
            </a:p>
          </p:txBody>
        </p:sp>
      </p:grpSp>
      <p:grpSp>
        <p:nvGrpSpPr>
          <p:cNvPr id="22536" name="Group 14"/>
          <p:cNvGrpSpPr>
            <a:grpSpLocks/>
          </p:cNvGrpSpPr>
          <p:nvPr/>
        </p:nvGrpSpPr>
        <p:grpSpPr bwMode="auto">
          <a:xfrm>
            <a:off x="2209800" y="1371600"/>
            <a:ext cx="2286000" cy="2286000"/>
            <a:chOff x="2209800" y="1219200"/>
            <a:chExt cx="2286000" cy="2286000"/>
          </a:xfrm>
        </p:grpSpPr>
        <p:sp>
          <p:nvSpPr>
            <p:cNvPr id="16" name="L-Shape 15"/>
            <p:cNvSpPr/>
            <p:nvPr/>
          </p:nvSpPr>
          <p:spPr>
            <a:xfrm rot="5400000">
              <a:off x="2209800" y="1219200"/>
              <a:ext cx="2286000" cy="2286000"/>
            </a:xfrm>
            <a:prstGeom prst="corner">
              <a:avLst>
                <a:gd name="adj1" fmla="val 50000"/>
                <a:gd name="adj2" fmla="val 49192"/>
              </a:avLst>
            </a:prstGeom>
            <a:solidFill>
              <a:srgbClr val="FFAB15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2543" name="TextBox 16"/>
            <p:cNvSpPr txBox="1">
              <a:spLocks noChangeArrowheads="1"/>
            </p:cNvSpPr>
            <p:nvPr/>
          </p:nvSpPr>
          <p:spPr bwMode="auto">
            <a:xfrm>
              <a:off x="2438400" y="1676400"/>
              <a:ext cx="182880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b="1">
                  <a:latin typeface="Calibri" panose="020F0502020204030204" pitchFamily="34" charset="0"/>
                </a:rPr>
                <a:t>PolicyWorks</a:t>
              </a:r>
            </a:p>
          </p:txBody>
        </p:sp>
      </p:grpSp>
      <p:grpSp>
        <p:nvGrpSpPr>
          <p:cNvPr id="22537" name="Group 17"/>
          <p:cNvGrpSpPr>
            <a:grpSpLocks/>
          </p:cNvGrpSpPr>
          <p:nvPr/>
        </p:nvGrpSpPr>
        <p:grpSpPr bwMode="auto">
          <a:xfrm>
            <a:off x="2209800" y="3657600"/>
            <a:ext cx="2286000" cy="2286000"/>
            <a:chOff x="2209800" y="3505200"/>
            <a:chExt cx="2286000" cy="2286000"/>
          </a:xfrm>
        </p:grpSpPr>
        <p:sp>
          <p:nvSpPr>
            <p:cNvPr id="19" name="L-Shape 18"/>
            <p:cNvSpPr/>
            <p:nvPr/>
          </p:nvSpPr>
          <p:spPr>
            <a:xfrm>
              <a:off x="2209800" y="3505200"/>
              <a:ext cx="2286000" cy="2286000"/>
            </a:xfrm>
            <a:prstGeom prst="corner">
              <a:avLst>
                <a:gd name="adj1" fmla="val 50000"/>
                <a:gd name="adj2" fmla="val 49192"/>
              </a:avLst>
            </a:prstGeom>
            <a:solidFill>
              <a:srgbClr val="3B01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2541" name="TextBox 19"/>
            <p:cNvSpPr txBox="1">
              <a:spLocks noChangeArrowheads="1"/>
            </p:cNvSpPr>
            <p:nvPr/>
          </p:nvSpPr>
          <p:spPr bwMode="auto">
            <a:xfrm>
              <a:off x="2362200" y="4840069"/>
              <a:ext cx="2057400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b="1">
                  <a:solidFill>
                    <a:srgbClr val="FEFFDB"/>
                  </a:solidFill>
                  <a:latin typeface="Calibri" panose="020F0502020204030204" pitchFamily="34" charset="0"/>
                </a:rPr>
                <a:t>University Partners - UCB/SDSU/CSUF</a:t>
              </a:r>
            </a:p>
          </p:txBody>
        </p:sp>
      </p:grpSp>
      <p:grpSp>
        <p:nvGrpSpPr>
          <p:cNvPr id="5" name="Group 20"/>
          <p:cNvGrpSpPr/>
          <p:nvPr/>
        </p:nvGrpSpPr>
        <p:grpSpPr>
          <a:xfrm>
            <a:off x="4495800" y="3657600"/>
            <a:ext cx="2286000" cy="2286000"/>
            <a:chOff x="4495800" y="3505200"/>
            <a:chExt cx="2286000" cy="2286000"/>
          </a:xfrm>
          <a:solidFill>
            <a:srgbClr val="578DB7"/>
          </a:solidFill>
        </p:grpSpPr>
        <p:sp>
          <p:nvSpPr>
            <p:cNvPr id="22" name="L-Shape 21"/>
            <p:cNvSpPr/>
            <p:nvPr/>
          </p:nvSpPr>
          <p:spPr>
            <a:xfrm rot="-5400000">
              <a:off x="4495800" y="3505200"/>
              <a:ext cx="2286000" cy="2286000"/>
            </a:xfrm>
            <a:prstGeom prst="corner">
              <a:avLst>
                <a:gd name="adj1" fmla="val 50000"/>
                <a:gd name="adj2" fmla="val 49192"/>
              </a:avLst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4572000" y="4800600"/>
              <a:ext cx="2133600" cy="923330"/>
            </a:xfrm>
            <a:prstGeom prst="rect">
              <a:avLst/>
            </a:prstGeom>
            <a:grp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b="1" dirty="0">
                  <a:latin typeface="+mn-lt"/>
                  <a:cs typeface="+mn-cs"/>
                </a:rPr>
                <a:t>Department of Rehabilitation (DOR)</a:t>
              </a:r>
            </a:p>
          </p:txBody>
        </p:sp>
      </p:grpSp>
      <p:sp>
        <p:nvSpPr>
          <p:cNvPr id="24" name="Slide Number Placeholder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AD4BE1F1-A5B9-45B5-B8D8-DCEAC8961D32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 eaLnBrk="1" hangingPunct="1"/>
              <a:t>22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6" descr="C2C BRIDGING THE GAP LOGO-ppt presnt graphic20.t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5" name="Rectangle 5"/>
          <p:cNvSpPr>
            <a:spLocks noChangeArrowheads="1"/>
          </p:cNvSpPr>
          <p:nvPr/>
        </p:nvSpPr>
        <p:spPr bwMode="auto">
          <a:xfrm>
            <a:off x="304800" y="209550"/>
            <a:ext cx="261461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b="1" i="1">
                <a:solidFill>
                  <a:srgbClr val="182D5A"/>
                </a:solidFill>
                <a:latin typeface="Vrinda" panose="020B0502040204020203" pitchFamily="34" charset="0"/>
                <a:ea typeface="Verdana" panose="020B0604030504040204" pitchFamily="34" charset="0"/>
                <a:cs typeface="Vrinda" panose="020B0502040204020203" pitchFamily="34" charset="0"/>
              </a:rPr>
              <a:t>PROJECT INNOVATION</a:t>
            </a:r>
          </a:p>
        </p:txBody>
      </p:sp>
      <p:graphicFrame>
        <p:nvGraphicFramePr>
          <p:cNvPr id="5" name="Diagram 4"/>
          <p:cNvGraphicFramePr/>
          <p:nvPr/>
        </p:nvGraphicFramePr>
        <p:xfrm>
          <a:off x="0" y="533400"/>
          <a:ext cx="9144000" cy="6324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3557" name="TextBox 7"/>
          <p:cNvSpPr txBox="1">
            <a:spLocks noChangeArrowheads="1"/>
          </p:cNvSpPr>
          <p:nvPr/>
        </p:nvSpPr>
        <p:spPr bwMode="auto">
          <a:xfrm>
            <a:off x="914400" y="609600"/>
            <a:ext cx="7391400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2800" b="1">
                <a:solidFill>
                  <a:srgbClr val="182D5A"/>
                </a:solidFill>
                <a:latin typeface="Calibri" panose="020F0502020204030204" pitchFamily="34" charset="0"/>
              </a:rPr>
              <a:t>Bridging to Career-Path Employment</a:t>
            </a:r>
          </a:p>
          <a:p>
            <a:pPr algn="ctr" eaLnBrk="1" hangingPunct="1"/>
            <a:r>
              <a:rPr lang="en-US" altLang="en-US" sz="2000">
                <a:solidFill>
                  <a:srgbClr val="182D5A"/>
                </a:solidFill>
                <a:latin typeface="Calibri" panose="020F0502020204030204" pitchFamily="34" charset="0"/>
              </a:rPr>
              <a:t>A Non-Traditional Person-Driven Approach</a:t>
            </a:r>
          </a:p>
        </p:txBody>
      </p:sp>
      <p:sp>
        <p:nvSpPr>
          <p:cNvPr id="13" name="Chevron 12"/>
          <p:cNvSpPr/>
          <p:nvPr/>
        </p:nvSpPr>
        <p:spPr>
          <a:xfrm rot="3759472">
            <a:off x="1535113" y="3765550"/>
            <a:ext cx="304800" cy="381000"/>
          </a:xfrm>
          <a:prstGeom prst="chevron">
            <a:avLst/>
          </a:prstGeom>
          <a:solidFill>
            <a:srgbClr val="578DB7"/>
          </a:solidFill>
          <a:ln>
            <a:solidFill>
              <a:srgbClr val="18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Chevron 14"/>
          <p:cNvSpPr/>
          <p:nvPr/>
        </p:nvSpPr>
        <p:spPr>
          <a:xfrm>
            <a:off x="3429000" y="5029200"/>
            <a:ext cx="381000" cy="533400"/>
          </a:xfrm>
          <a:prstGeom prst="chevron">
            <a:avLst>
              <a:gd name="adj" fmla="val 58849"/>
            </a:avLst>
          </a:prstGeom>
          <a:solidFill>
            <a:srgbClr val="578DB7"/>
          </a:solidFill>
          <a:ln>
            <a:solidFill>
              <a:srgbClr val="18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Chevron 15"/>
          <p:cNvSpPr/>
          <p:nvPr/>
        </p:nvSpPr>
        <p:spPr>
          <a:xfrm rot="18618006">
            <a:off x="5927725" y="3884613"/>
            <a:ext cx="533400" cy="685800"/>
          </a:xfrm>
          <a:prstGeom prst="chevron">
            <a:avLst/>
          </a:prstGeom>
          <a:solidFill>
            <a:srgbClr val="578DB7"/>
          </a:solidFill>
          <a:ln>
            <a:solidFill>
              <a:srgbClr val="18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E0B4D589-B2C9-4EFC-BCBD-E41244034E5F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 eaLnBrk="1" hangingPunct="1"/>
              <a:t>23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6" descr="C2C BRIDGING THE GAP LOGO-ppt presnt graphic20.t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79" name="Title 1"/>
          <p:cNvSpPr>
            <a:spLocks noGrp="1"/>
          </p:cNvSpPr>
          <p:nvPr>
            <p:ph type="ctrTitle"/>
          </p:nvPr>
        </p:nvSpPr>
        <p:spPr>
          <a:xfrm>
            <a:off x="1600200" y="685800"/>
            <a:ext cx="6019800" cy="457200"/>
          </a:xfrm>
        </p:spPr>
        <p:txBody>
          <a:bodyPr/>
          <a:lstStyle/>
          <a:p>
            <a:pPr eaLnBrk="1" hangingPunct="1"/>
            <a:r>
              <a:rPr lang="en-US" altLang="en-US" sz="2800" b="1" smtClean="0">
                <a:solidFill>
                  <a:srgbClr val="182D5A"/>
                </a:solidFill>
              </a:rPr>
              <a:t>Participant Flow Chart</a:t>
            </a:r>
          </a:p>
        </p:txBody>
      </p:sp>
      <p:sp>
        <p:nvSpPr>
          <p:cNvPr id="24580" name="Rectangle 5"/>
          <p:cNvSpPr>
            <a:spLocks noChangeArrowheads="1"/>
          </p:cNvSpPr>
          <p:nvPr/>
        </p:nvSpPr>
        <p:spPr bwMode="auto">
          <a:xfrm>
            <a:off x="228600" y="209550"/>
            <a:ext cx="28717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b="1" i="1">
                <a:solidFill>
                  <a:srgbClr val="182D5A"/>
                </a:solidFill>
                <a:latin typeface="Vrinda" panose="020B0502040204020203" pitchFamily="34" charset="0"/>
                <a:ea typeface="Verdana" panose="020B0604030504040204" pitchFamily="34" charset="0"/>
                <a:cs typeface="Vrinda" panose="020B0502040204020203" pitchFamily="34" charset="0"/>
              </a:rPr>
              <a:t>PROJECT  COMPONENTS</a:t>
            </a:r>
          </a:p>
        </p:txBody>
      </p:sp>
      <p:grpSp>
        <p:nvGrpSpPr>
          <p:cNvPr id="24581" name="Group 50"/>
          <p:cNvGrpSpPr>
            <a:grpSpLocks/>
          </p:cNvGrpSpPr>
          <p:nvPr/>
        </p:nvGrpSpPr>
        <p:grpSpPr bwMode="auto">
          <a:xfrm>
            <a:off x="3810000" y="5562600"/>
            <a:ext cx="3810000" cy="914400"/>
            <a:chOff x="4175760" y="5405803"/>
            <a:chExt cx="4846320" cy="861647"/>
          </a:xfrm>
        </p:grpSpPr>
        <p:sp>
          <p:nvSpPr>
            <p:cNvPr id="26" name="Trapezoid 25"/>
            <p:cNvSpPr/>
            <p:nvPr/>
          </p:nvSpPr>
          <p:spPr>
            <a:xfrm>
              <a:off x="4175760" y="5836627"/>
              <a:ext cx="4846320" cy="430824"/>
            </a:xfrm>
            <a:prstGeom prst="trapezoid">
              <a:avLst/>
            </a:prstGeom>
            <a:solidFill>
              <a:srgbClr val="495E0A"/>
            </a:solidFill>
            <a:ln>
              <a:solidFill>
                <a:srgbClr val="182D5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 smtClean="0">
                  <a:solidFill>
                    <a:srgbClr val="FFFFFF"/>
                  </a:solidFill>
                </a:rPr>
                <a:t>Internship/Career </a:t>
              </a:r>
              <a:r>
                <a:rPr lang="en-US" sz="1800" b="1" dirty="0">
                  <a:solidFill>
                    <a:srgbClr val="FFFFFF"/>
                  </a:solidFill>
                </a:rPr>
                <a:t>Path </a:t>
              </a:r>
              <a:r>
                <a:rPr lang="en-US" sz="1800" b="1" dirty="0" smtClean="0">
                  <a:solidFill>
                    <a:srgbClr val="FFFFFF"/>
                  </a:solidFill>
                </a:rPr>
                <a:t>Employment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29" name="Down Arrow 28"/>
            <p:cNvSpPr/>
            <p:nvPr/>
          </p:nvSpPr>
          <p:spPr>
            <a:xfrm>
              <a:off x="6069863" y="5405803"/>
              <a:ext cx="1122731" cy="359020"/>
            </a:xfrm>
            <a:prstGeom prst="downArrow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dirty="0"/>
                <a:t>YES</a:t>
              </a:r>
            </a:p>
          </p:txBody>
        </p:sp>
      </p:grpSp>
      <p:grpSp>
        <p:nvGrpSpPr>
          <p:cNvPr id="24582" name="Group 47"/>
          <p:cNvGrpSpPr>
            <a:grpSpLocks/>
          </p:cNvGrpSpPr>
          <p:nvPr/>
        </p:nvGrpSpPr>
        <p:grpSpPr bwMode="auto">
          <a:xfrm>
            <a:off x="4267200" y="4441825"/>
            <a:ext cx="2971800" cy="1044575"/>
            <a:chOff x="5422556" y="4343399"/>
            <a:chExt cx="2730843" cy="914399"/>
          </a:xfrm>
        </p:grpSpPr>
        <p:sp>
          <p:nvSpPr>
            <p:cNvPr id="24" name="Down Arrow 23"/>
            <p:cNvSpPr/>
            <p:nvPr/>
          </p:nvSpPr>
          <p:spPr>
            <a:xfrm>
              <a:off x="6262815" y="4343399"/>
              <a:ext cx="994890" cy="314064"/>
            </a:xfrm>
            <a:prstGeom prst="downArrow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38" name="Flowchart: Terminator 37"/>
            <p:cNvSpPr/>
            <p:nvPr/>
          </p:nvSpPr>
          <p:spPr>
            <a:xfrm>
              <a:off x="5422556" y="4724167"/>
              <a:ext cx="2730843" cy="533631"/>
            </a:xfrm>
            <a:prstGeom prst="flowChartTerminator">
              <a:avLst/>
            </a:prstGeom>
            <a:ln>
              <a:solidFill>
                <a:srgbClr val="182D5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b="1" dirty="0">
                  <a:solidFill>
                    <a:srgbClr val="FFFFFF"/>
                  </a:solidFill>
                </a:rPr>
                <a:t>Participant applies for internship/Placement </a:t>
              </a:r>
            </a:p>
          </p:txBody>
        </p:sp>
      </p:grpSp>
      <p:grpSp>
        <p:nvGrpSpPr>
          <p:cNvPr id="24583" name="Group 35"/>
          <p:cNvGrpSpPr>
            <a:grpSpLocks/>
          </p:cNvGrpSpPr>
          <p:nvPr/>
        </p:nvGrpSpPr>
        <p:grpSpPr bwMode="auto">
          <a:xfrm>
            <a:off x="381000" y="1295400"/>
            <a:ext cx="3276600" cy="2971800"/>
            <a:chOff x="381000" y="1295399"/>
            <a:chExt cx="3276600" cy="2971800"/>
          </a:xfrm>
        </p:grpSpPr>
        <p:sp>
          <p:nvSpPr>
            <p:cNvPr id="15" name="Flowchart: Document 14"/>
            <p:cNvSpPr/>
            <p:nvPr/>
          </p:nvSpPr>
          <p:spPr>
            <a:xfrm>
              <a:off x="381000" y="2590799"/>
              <a:ext cx="1066800" cy="685800"/>
            </a:xfrm>
            <a:prstGeom prst="flowChartDocument">
              <a:avLst/>
            </a:prstGeom>
            <a:solidFill>
              <a:srgbClr val="578DB7"/>
            </a:solidFill>
            <a:ln>
              <a:solidFill>
                <a:srgbClr val="182D5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dirty="0">
                  <a:solidFill>
                    <a:srgbClr val="182D5A"/>
                  </a:solidFill>
                </a:rPr>
                <a:t>Course Enrollment</a:t>
              </a:r>
            </a:p>
          </p:txBody>
        </p:sp>
        <p:grpSp>
          <p:nvGrpSpPr>
            <p:cNvPr id="24604" name="Group 33"/>
            <p:cNvGrpSpPr>
              <a:grpSpLocks/>
            </p:cNvGrpSpPr>
            <p:nvPr/>
          </p:nvGrpSpPr>
          <p:grpSpPr bwMode="auto">
            <a:xfrm>
              <a:off x="1524000" y="1295399"/>
              <a:ext cx="2133600" cy="2971800"/>
              <a:chOff x="1752600" y="1219200"/>
              <a:chExt cx="2133600" cy="2514600"/>
            </a:xfrm>
          </p:grpSpPr>
          <p:sp>
            <p:nvSpPr>
              <p:cNvPr id="13" name="Flowchart: Process 12"/>
              <p:cNvSpPr/>
              <p:nvPr/>
            </p:nvSpPr>
            <p:spPr>
              <a:xfrm>
                <a:off x="2133600" y="1219200"/>
                <a:ext cx="1752600" cy="2514600"/>
              </a:xfrm>
              <a:prstGeom prst="flowChartProcess">
                <a:avLst/>
              </a:prstGeom>
              <a:solidFill>
                <a:srgbClr val="182D5A"/>
              </a:solidFill>
              <a:ln>
                <a:solidFill>
                  <a:srgbClr val="182D5A"/>
                </a:solidFill>
              </a:ln>
              <a:effectLst>
                <a:outerShdw blurRad="50800" dist="495300" dir="5400000" sx="39000" sy="39000" algn="ctr" rotWithShape="0">
                  <a:srgbClr val="000000">
                    <a:alpha val="43137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000" b="1" u="sng" dirty="0" smtClean="0">
                    <a:solidFill>
                      <a:srgbClr val="FFFFFF"/>
                    </a:solidFill>
                  </a:rPr>
                  <a:t>C2C  Professional Development and Disability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2000" b="1" u="sng" dirty="0" smtClean="0">
                    <a:solidFill>
                      <a:srgbClr val="FFFFFF"/>
                    </a:solidFill>
                  </a:rPr>
                  <a:t>Course</a:t>
                </a:r>
                <a:endParaRPr lang="en-US" sz="2000" dirty="0">
                  <a:solidFill>
                    <a:srgbClr val="FFFFFF"/>
                  </a:solidFill>
                </a:endParaRP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00" dirty="0"/>
              </a:p>
            </p:txBody>
          </p:sp>
          <p:sp>
            <p:nvSpPr>
              <p:cNvPr id="17" name="Chevron 16"/>
              <p:cNvSpPr/>
              <p:nvPr/>
            </p:nvSpPr>
            <p:spPr>
              <a:xfrm>
                <a:off x="1752600" y="2379785"/>
                <a:ext cx="304800" cy="299549"/>
              </a:xfrm>
              <a:prstGeom prst="chevron">
                <a:avLst/>
              </a:prstGeom>
              <a:solidFill>
                <a:srgbClr val="002060"/>
              </a:solidFill>
              <a:ln>
                <a:solidFill>
                  <a:srgbClr val="182D5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0" name="Pentagon 29"/>
            <p:cNvSpPr/>
            <p:nvPr/>
          </p:nvSpPr>
          <p:spPr>
            <a:xfrm rot="5400000">
              <a:off x="419100" y="1333500"/>
              <a:ext cx="990600" cy="1066800"/>
            </a:xfrm>
            <a:prstGeom prst="homePlate">
              <a:avLst>
                <a:gd name="adj" fmla="val 30253"/>
              </a:avLst>
            </a:prstGeom>
            <a:solidFill>
              <a:srgbClr val="578DB7"/>
            </a:solidFill>
            <a:ln>
              <a:solidFill>
                <a:srgbClr val="182D5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dirty="0">
                  <a:solidFill>
                    <a:srgbClr val="182D5A"/>
                  </a:solidFill>
                </a:rPr>
                <a:t>Student</a:t>
              </a:r>
              <a:r>
                <a:rPr lang="en-US" sz="1400" dirty="0">
                  <a:solidFill>
                    <a:srgbClr val="182D5A"/>
                  </a:solidFill>
                </a:rPr>
                <a:t>  </a:t>
              </a:r>
              <a:r>
                <a:rPr lang="en-US" sz="1400" b="1" dirty="0">
                  <a:solidFill>
                    <a:srgbClr val="182D5A"/>
                  </a:solidFill>
                </a:rPr>
                <a:t>Recruitment</a:t>
              </a:r>
            </a:p>
          </p:txBody>
        </p:sp>
      </p:grpSp>
      <p:grpSp>
        <p:nvGrpSpPr>
          <p:cNvPr id="24584" name="Group 38"/>
          <p:cNvGrpSpPr>
            <a:grpSpLocks/>
          </p:cNvGrpSpPr>
          <p:nvPr/>
        </p:nvGrpSpPr>
        <p:grpSpPr bwMode="auto">
          <a:xfrm>
            <a:off x="3746500" y="1295400"/>
            <a:ext cx="3644900" cy="3048000"/>
            <a:chOff x="3746241" y="1295399"/>
            <a:chExt cx="3645161" cy="3048001"/>
          </a:xfrm>
        </p:grpSpPr>
        <p:grpSp>
          <p:nvGrpSpPr>
            <p:cNvPr id="24591" name="Group 53"/>
            <p:cNvGrpSpPr>
              <a:grpSpLocks/>
            </p:cNvGrpSpPr>
            <p:nvPr/>
          </p:nvGrpSpPr>
          <p:grpSpPr bwMode="auto">
            <a:xfrm>
              <a:off x="3796454" y="1295399"/>
              <a:ext cx="3594945" cy="533400"/>
              <a:chOff x="4015723" y="1295400"/>
              <a:chExt cx="3059528" cy="533400"/>
            </a:xfrm>
          </p:grpSpPr>
          <p:sp>
            <p:nvSpPr>
              <p:cNvPr id="19" name="Chevron 18"/>
              <p:cNvSpPr/>
              <p:nvPr/>
            </p:nvSpPr>
            <p:spPr>
              <a:xfrm>
                <a:off x="4016226" y="1447800"/>
                <a:ext cx="270232" cy="212725"/>
              </a:xfrm>
              <a:prstGeom prst="chevron">
                <a:avLst/>
              </a:prstGeom>
              <a:solidFill>
                <a:srgbClr val="002060"/>
              </a:solidFill>
              <a:ln>
                <a:solidFill>
                  <a:srgbClr val="182D5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Flowchart: Process 34"/>
              <p:cNvSpPr/>
              <p:nvPr/>
            </p:nvSpPr>
            <p:spPr>
              <a:xfrm>
                <a:off x="4366177" y="1295400"/>
                <a:ext cx="2709077" cy="533400"/>
              </a:xfrm>
              <a:prstGeom prst="flowChartProcess">
                <a:avLst/>
              </a:prstGeom>
              <a:solidFill>
                <a:srgbClr val="FFAB1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b="1" dirty="0">
                    <a:solidFill>
                      <a:srgbClr val="182D5A"/>
                    </a:solidFill>
                  </a:rPr>
                  <a:t>Participant meets with Peer Mentor to plan and schedule activities.</a:t>
                </a:r>
              </a:p>
            </p:txBody>
          </p:sp>
        </p:grpSp>
        <p:grpSp>
          <p:nvGrpSpPr>
            <p:cNvPr id="24592" name="Group 42"/>
            <p:cNvGrpSpPr>
              <a:grpSpLocks/>
            </p:cNvGrpSpPr>
            <p:nvPr/>
          </p:nvGrpSpPr>
          <p:grpSpPr bwMode="auto">
            <a:xfrm>
              <a:off x="3746241" y="2590800"/>
              <a:ext cx="3632713" cy="533400"/>
              <a:chOff x="4978944" y="2438400"/>
              <a:chExt cx="3787297" cy="533400"/>
            </a:xfrm>
          </p:grpSpPr>
          <p:sp>
            <p:nvSpPr>
              <p:cNvPr id="37" name="Flowchart: Process 36"/>
              <p:cNvSpPr/>
              <p:nvPr/>
            </p:nvSpPr>
            <p:spPr>
              <a:xfrm>
                <a:off x="5412599" y="2438399"/>
                <a:ext cx="3353378" cy="533400"/>
              </a:xfrm>
              <a:prstGeom prst="flowChartProcess">
                <a:avLst/>
              </a:prstGeom>
              <a:solidFill>
                <a:srgbClr val="FFAB1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b="1" dirty="0">
                    <a:solidFill>
                      <a:srgbClr val="182D5A"/>
                    </a:solidFill>
                  </a:rPr>
                  <a:t>Participant matched with Career Mentor.   Schedule and plan activities.</a:t>
                </a:r>
              </a:p>
            </p:txBody>
          </p:sp>
          <p:sp>
            <p:nvSpPr>
              <p:cNvPr id="46" name="Chevron 45"/>
              <p:cNvSpPr/>
              <p:nvPr/>
            </p:nvSpPr>
            <p:spPr>
              <a:xfrm>
                <a:off x="4978944" y="2590799"/>
                <a:ext cx="304552" cy="212725"/>
              </a:xfrm>
              <a:prstGeom prst="chevron">
                <a:avLst/>
              </a:prstGeom>
              <a:solidFill>
                <a:srgbClr val="002060"/>
              </a:solidFill>
              <a:ln>
                <a:solidFill>
                  <a:srgbClr val="182D5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4593" name="Group 43"/>
            <p:cNvGrpSpPr>
              <a:grpSpLocks/>
            </p:cNvGrpSpPr>
            <p:nvPr/>
          </p:nvGrpSpPr>
          <p:grpSpPr bwMode="auto">
            <a:xfrm>
              <a:off x="3747653" y="3276600"/>
              <a:ext cx="3643747" cy="1066800"/>
              <a:chOff x="4953000" y="3063240"/>
              <a:chExt cx="3515896" cy="707339"/>
            </a:xfrm>
          </p:grpSpPr>
          <p:sp>
            <p:nvSpPr>
              <p:cNvPr id="21" name="Flowchart: Alternate Process 20"/>
              <p:cNvSpPr/>
              <p:nvPr/>
            </p:nvSpPr>
            <p:spPr>
              <a:xfrm>
                <a:off x="5320828" y="3063240"/>
                <a:ext cx="3148070" cy="707339"/>
              </a:xfrm>
              <a:prstGeom prst="flowChartAlternateProcess">
                <a:avLst/>
              </a:prstGeom>
              <a:solidFill>
                <a:srgbClr val="495E0A"/>
              </a:solidFill>
              <a:ln>
                <a:solidFill>
                  <a:srgbClr val="182D5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/>
                  <a:t>Participant works with </a:t>
                </a:r>
                <a:r>
                  <a:rPr lang="en-US" sz="1400" dirty="0" smtClean="0"/>
                  <a:t> </a:t>
                </a:r>
                <a:r>
                  <a:rPr lang="en-US" sz="1400" dirty="0"/>
                  <a:t>Placement Specialist  to choose internship, work experience and placement </a:t>
                </a:r>
                <a:r>
                  <a:rPr lang="en-US" sz="1400" dirty="0" smtClean="0"/>
                  <a:t>opportunities developed by community partners.</a:t>
                </a:r>
                <a:endParaRPr lang="en-US" sz="1400" dirty="0"/>
              </a:p>
            </p:txBody>
          </p:sp>
          <p:sp>
            <p:nvSpPr>
              <p:cNvPr id="47" name="Chevron 46"/>
              <p:cNvSpPr/>
              <p:nvPr/>
            </p:nvSpPr>
            <p:spPr>
              <a:xfrm>
                <a:off x="4953170" y="3281126"/>
                <a:ext cx="304849" cy="186308"/>
              </a:xfrm>
              <a:prstGeom prst="chevron">
                <a:avLst/>
              </a:prstGeom>
              <a:solidFill>
                <a:srgbClr val="002060"/>
              </a:solidFill>
              <a:ln>
                <a:solidFill>
                  <a:srgbClr val="182D5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4594" name="Group 54"/>
            <p:cNvGrpSpPr>
              <a:grpSpLocks/>
            </p:cNvGrpSpPr>
            <p:nvPr/>
          </p:nvGrpSpPr>
          <p:grpSpPr bwMode="auto">
            <a:xfrm>
              <a:off x="3804219" y="1981199"/>
              <a:ext cx="3587183" cy="474345"/>
              <a:chOff x="4023828" y="1828800"/>
              <a:chExt cx="3129245" cy="474345"/>
            </a:xfrm>
          </p:grpSpPr>
          <p:sp>
            <p:nvSpPr>
              <p:cNvPr id="33" name="Flowchart: Multidocument 32"/>
              <p:cNvSpPr/>
              <p:nvPr/>
            </p:nvSpPr>
            <p:spPr>
              <a:xfrm>
                <a:off x="4410892" y="1828800"/>
                <a:ext cx="2742181" cy="474663"/>
              </a:xfrm>
              <a:prstGeom prst="flowChartMultidocument">
                <a:avLst/>
              </a:prstGeom>
              <a:solidFill>
                <a:srgbClr val="495E0A"/>
              </a:solidFill>
              <a:ln>
                <a:solidFill>
                  <a:srgbClr val="182D5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b="1" dirty="0">
                    <a:solidFill>
                      <a:srgbClr val="FFFFFF"/>
                    </a:solidFill>
                  </a:rPr>
                  <a:t>Develop Career Plan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b="1" dirty="0">
                    <a:solidFill>
                      <a:srgbClr val="FFFFFF"/>
                    </a:solidFill>
                  </a:rPr>
                  <a:t> </a:t>
                </a:r>
              </a:p>
            </p:txBody>
          </p:sp>
          <p:sp>
            <p:nvSpPr>
              <p:cNvPr id="52" name="Chevron 51"/>
              <p:cNvSpPr/>
              <p:nvPr/>
            </p:nvSpPr>
            <p:spPr>
              <a:xfrm>
                <a:off x="4024495" y="1981200"/>
                <a:ext cx="271448" cy="214313"/>
              </a:xfrm>
              <a:prstGeom prst="chevron">
                <a:avLst/>
              </a:prstGeom>
              <a:solidFill>
                <a:srgbClr val="002060"/>
              </a:solidFill>
              <a:ln>
                <a:solidFill>
                  <a:srgbClr val="182D5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4585" name="Rectangle 52"/>
          <p:cNvSpPr>
            <a:spLocks noChangeArrowheads="1"/>
          </p:cNvSpPr>
          <p:nvPr/>
        </p:nvSpPr>
        <p:spPr bwMode="auto">
          <a:xfrm>
            <a:off x="4757738" y="4941888"/>
            <a:ext cx="27622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>
                <a:solidFill>
                  <a:srgbClr val="FFFFFF"/>
                </a:solidFill>
                <a:latin typeface="Calibri" panose="020F0502020204030204" pitchFamily="34" charset="0"/>
              </a:rPr>
              <a:t>N</a:t>
            </a:r>
            <a:endParaRPr lang="en-US" altLang="en-US">
              <a:latin typeface="Calibri" panose="020F0502020204030204" pitchFamily="34" charset="0"/>
            </a:endParaRPr>
          </a:p>
        </p:txBody>
      </p:sp>
      <p:sp>
        <p:nvSpPr>
          <p:cNvPr id="57" name="Down Arrow Callout 56"/>
          <p:cNvSpPr/>
          <p:nvPr/>
        </p:nvSpPr>
        <p:spPr>
          <a:xfrm>
            <a:off x="7620000" y="1295400"/>
            <a:ext cx="1143000" cy="5181600"/>
          </a:xfrm>
          <a:prstGeom prst="downArrowCallout">
            <a:avLst>
              <a:gd name="adj1" fmla="val 25000"/>
              <a:gd name="adj2" fmla="val 25000"/>
              <a:gd name="adj3" fmla="val 25000"/>
              <a:gd name="adj4" fmla="val 34365"/>
            </a:avLst>
          </a:prstGeom>
          <a:solidFill>
            <a:srgbClr val="FFAB15"/>
          </a:solidFill>
          <a:ln>
            <a:solidFill>
              <a:srgbClr val="18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182D5A"/>
                </a:solidFill>
              </a:rPr>
              <a:t>Peer and Career Mentorship: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srgbClr val="182D5A"/>
                </a:solidFill>
              </a:rPr>
              <a:t> Guidanc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srgbClr val="182D5A"/>
                </a:solidFill>
              </a:rPr>
              <a:t>Referral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srgbClr val="182D5A"/>
                </a:solidFill>
              </a:rPr>
              <a:t>On-going support</a:t>
            </a:r>
          </a:p>
        </p:txBody>
      </p:sp>
      <p:grpSp>
        <p:nvGrpSpPr>
          <p:cNvPr id="24587" name="Group 64"/>
          <p:cNvGrpSpPr>
            <a:grpSpLocks/>
          </p:cNvGrpSpPr>
          <p:nvPr/>
        </p:nvGrpSpPr>
        <p:grpSpPr bwMode="auto">
          <a:xfrm>
            <a:off x="7302500" y="3673475"/>
            <a:ext cx="608013" cy="1706563"/>
            <a:chOff x="7303219" y="3673657"/>
            <a:chExt cx="607561" cy="1706141"/>
          </a:xfrm>
        </p:grpSpPr>
        <p:sp>
          <p:nvSpPr>
            <p:cNvPr id="61" name="Pentagon 60"/>
            <p:cNvSpPr/>
            <p:nvPr/>
          </p:nvSpPr>
          <p:spPr>
            <a:xfrm rot="21401797">
              <a:off x="7303219" y="4952999"/>
              <a:ext cx="381000" cy="426799"/>
            </a:xfrm>
            <a:prstGeom prst="homePlate">
              <a:avLst/>
            </a:prstGeom>
            <a:solidFill>
              <a:srgbClr val="182D5A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/>
                <a:t>NO</a:t>
              </a:r>
            </a:p>
          </p:txBody>
        </p:sp>
        <p:sp>
          <p:nvSpPr>
            <p:cNvPr id="62" name="Curved Up Arrow 61"/>
            <p:cNvSpPr/>
            <p:nvPr/>
          </p:nvSpPr>
          <p:spPr>
            <a:xfrm rot="15426532">
              <a:off x="6999857" y="4272075"/>
              <a:ext cx="1509340" cy="312506"/>
            </a:xfrm>
            <a:prstGeom prst="curvedUpArrow">
              <a:avLst>
                <a:gd name="adj1" fmla="val 38309"/>
                <a:gd name="adj2" fmla="val 88907"/>
                <a:gd name="adj3" fmla="val 44099"/>
              </a:avLst>
            </a:prstGeom>
            <a:solidFill>
              <a:srgbClr val="182D5A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40" name="Slide Number Placeholder 3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FC628AE-FE90-413B-911A-8D5AE4E78980}" type="slidenum"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pPr eaLnBrk="1" hangingPunct="1"/>
              <a:t>24</a:t>
            </a:fld>
            <a:endParaRPr lang="en-US" altLang="en-US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6"/>
          <p:cNvSpPr>
            <a:spLocks noChangeArrowheads="1"/>
          </p:cNvSpPr>
          <p:nvPr/>
        </p:nvSpPr>
        <p:spPr bwMode="auto">
          <a:xfrm>
            <a:off x="100013" y="1719263"/>
            <a:ext cx="8364537" cy="776287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23000">
                <a:schemeClr val="accent1">
                  <a:lumMod val="50000"/>
                </a:schemeClr>
              </a:gs>
              <a:gs pos="100000">
                <a:schemeClr val="accent1"/>
              </a:gs>
            </a:gsLst>
            <a:lin ang="13500000" scaled="1"/>
            <a:tileRect/>
          </a:gra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  <a:cs typeface="+mn-cs"/>
            </a:endParaRPr>
          </a:p>
        </p:txBody>
      </p:sp>
      <p:sp>
        <p:nvSpPr>
          <p:cNvPr id="11267" name="Title 1"/>
          <p:cNvSpPr>
            <a:spLocks noGrp="1"/>
          </p:cNvSpPr>
          <p:nvPr>
            <p:ph type="title"/>
          </p:nvPr>
        </p:nvSpPr>
        <p:spPr>
          <a:xfrm>
            <a:off x="1306513" y="438150"/>
            <a:ext cx="6835775" cy="1143000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altLang="en-US" sz="3000" b="1" dirty="0" smtClean="0">
                <a:solidFill>
                  <a:srgbClr val="002060"/>
                </a:solidFill>
                <a:latin typeface="Georgia" panose="02040502050405020303" pitchFamily="18" charset="0"/>
              </a:rPr>
              <a:t>Pepsi ACT </a:t>
            </a:r>
            <a:br>
              <a:rPr lang="en-US" altLang="en-US" sz="3000" b="1" dirty="0" smtClean="0">
                <a:solidFill>
                  <a:srgbClr val="002060"/>
                </a:solidFill>
                <a:latin typeface="Georgia" panose="02040502050405020303" pitchFamily="18" charset="0"/>
              </a:rPr>
            </a:br>
            <a:r>
              <a:rPr lang="en-US" altLang="en-US" sz="3000" b="1" dirty="0" smtClean="0">
                <a:solidFill>
                  <a:srgbClr val="002060"/>
                </a:solidFill>
                <a:latin typeface="Georgia" panose="02040502050405020303" pitchFamily="18" charset="0"/>
              </a:rPr>
              <a:t>Achieving Change Together 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114605" y="2495410"/>
          <a:ext cx="8349455" cy="43625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Rectangle 2"/>
          <p:cNvSpPr/>
          <p:nvPr/>
        </p:nvSpPr>
        <p:spPr>
          <a:xfrm>
            <a:off x="66675" y="1773238"/>
            <a:ext cx="8334375" cy="9223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pc="50" dirty="0">
                <a:ln w="0"/>
                <a:solidFill>
                  <a:schemeClr val="bg1"/>
                </a:solidFill>
                <a:latin typeface="+mn-lt"/>
                <a:cs typeface="+mn-cs"/>
              </a:rPr>
              <a:t>Pepsi ACT is a beverages inspired initiative to increase hiring and retention of qualified jobseekers with disabilities. </a:t>
            </a:r>
            <a:endParaRPr lang="en-US" dirty="0">
              <a:latin typeface="+mn-lt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1" spc="50" dirty="0">
              <a:ln w="0"/>
              <a:solidFill>
                <a:schemeClr val="bg1"/>
              </a:solidFill>
              <a:latin typeface="Century Gothic" panose="020B0502020202020204" pitchFamily="34" charset="0"/>
              <a:cs typeface="+mn-cs"/>
            </a:endParaRPr>
          </a:p>
        </p:txBody>
      </p:sp>
      <p:pic>
        <p:nvPicPr>
          <p:cNvPr id="2560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1325" y="3505200"/>
            <a:ext cx="1692275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7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9838" y="3511550"/>
            <a:ext cx="1757362" cy="121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8" name="Picture 1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1325" y="4648200"/>
            <a:ext cx="1692275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9" name="Picture 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322263"/>
            <a:ext cx="1630363" cy="1277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10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9838" y="4648200"/>
            <a:ext cx="1724025" cy="1081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11" name="Rectangle 10"/>
          <p:cNvSpPr>
            <a:spLocks noChangeArrowheads="1"/>
          </p:cNvSpPr>
          <p:nvPr/>
        </p:nvSpPr>
        <p:spPr bwMode="auto">
          <a:xfrm>
            <a:off x="8610600" y="5638800"/>
            <a:ext cx="3016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latin typeface="Calibri" panose="020F0502020204030204" pitchFamily="34" charset="0"/>
              </a:rPr>
              <a:t>5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tangle 92"/>
          <p:cNvSpPr/>
          <p:nvPr/>
        </p:nvSpPr>
        <p:spPr>
          <a:xfrm>
            <a:off x="146050" y="884238"/>
            <a:ext cx="8101013" cy="746125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aphicFrame>
        <p:nvGraphicFramePr>
          <p:cNvPr id="717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63513"/>
          <a:ext cx="150813" cy="150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63513"/>
                        <a:ext cx="150813" cy="1508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27013" y="163513"/>
            <a:ext cx="7240587" cy="576262"/>
          </a:xfrm>
          <a:prstGeom prst="rect">
            <a:avLst/>
          </a:prstGeom>
        </p:spPr>
        <p:txBody>
          <a:bodyPr anchor="b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85" b="1" dirty="0">
                <a:solidFill>
                  <a:srgbClr val="002060"/>
                </a:solidFill>
                <a:latin typeface="Georgia" panose="02040502050405020303" pitchFamily="18" charset="0"/>
                <a:ea typeface="+mj-ea"/>
                <a:cs typeface="+mj-cs"/>
              </a:rPr>
              <a:t>Pepsi ACT – Achieving Change Together </a:t>
            </a:r>
            <a:endParaRPr lang="en-US" sz="1600" b="1" dirty="0">
              <a:solidFill>
                <a:srgbClr val="002060"/>
              </a:solidFill>
              <a:latin typeface="Georgia" panose="02040502050405020303" pitchFamily="18" charset="0"/>
              <a:ea typeface="+mj-ea"/>
              <a:cs typeface="+mj-cs"/>
            </a:endParaRPr>
          </a:p>
        </p:txBody>
      </p:sp>
      <p:sp>
        <p:nvSpPr>
          <p:cNvPr id="7173" name="Rectangle 1"/>
          <p:cNvSpPr>
            <a:spLocks noChangeArrowheads="1"/>
          </p:cNvSpPr>
          <p:nvPr/>
        </p:nvSpPr>
        <p:spPr bwMode="auto">
          <a:xfrm>
            <a:off x="8610600" y="5638800"/>
            <a:ext cx="3016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latin typeface="Calibri" panose="020F0502020204030204" pitchFamily="34" charset="0"/>
              </a:rPr>
              <a:t>6</a:t>
            </a:r>
          </a:p>
        </p:txBody>
      </p:sp>
      <p:grpSp>
        <p:nvGrpSpPr>
          <p:cNvPr id="7174" name="Group 86"/>
          <p:cNvGrpSpPr>
            <a:grpSpLocks/>
          </p:cNvGrpSpPr>
          <p:nvPr/>
        </p:nvGrpSpPr>
        <p:grpSpPr bwMode="auto">
          <a:xfrm>
            <a:off x="2459038" y="3529013"/>
            <a:ext cx="5829300" cy="3328987"/>
            <a:chOff x="2654400" y="3506944"/>
            <a:chExt cx="5334000" cy="2888256"/>
          </a:xfrm>
        </p:grpSpPr>
        <p:grpSp>
          <p:nvGrpSpPr>
            <p:cNvPr id="7189" name="Group 3"/>
            <p:cNvGrpSpPr>
              <a:grpSpLocks/>
            </p:cNvGrpSpPr>
            <p:nvPr/>
          </p:nvGrpSpPr>
          <p:grpSpPr bwMode="auto">
            <a:xfrm>
              <a:off x="2654400" y="3506944"/>
              <a:ext cx="5334000" cy="2888256"/>
              <a:chOff x="1515483" y="3542138"/>
              <a:chExt cx="5334000" cy="2888256"/>
            </a:xfrm>
          </p:grpSpPr>
          <p:grpSp>
            <p:nvGrpSpPr>
              <p:cNvPr id="4" name="Group 5"/>
              <p:cNvGrpSpPr/>
              <p:nvPr/>
            </p:nvGrpSpPr>
            <p:grpSpPr>
              <a:xfrm>
                <a:off x="1515483" y="3542138"/>
                <a:ext cx="5334000" cy="2888256"/>
                <a:chOff x="-496222" y="-5489"/>
                <a:chExt cx="8388975" cy="5073895"/>
              </a:xfrm>
              <a:solidFill>
                <a:sysClr val="window" lastClr="FFFFFF">
                  <a:lumMod val="85000"/>
                </a:sysClr>
              </a:solidFill>
            </p:grpSpPr>
            <p:sp>
              <p:nvSpPr>
                <p:cNvPr id="7" name="Freeform 6"/>
                <p:cNvSpPr>
                  <a:spLocks/>
                </p:cNvSpPr>
                <p:nvPr/>
              </p:nvSpPr>
              <p:spPr bwMode="auto">
                <a:xfrm>
                  <a:off x="7064921" y="1200836"/>
                  <a:ext cx="247650" cy="247584"/>
                </a:xfrm>
                <a:custGeom>
                  <a:avLst/>
                  <a:gdLst>
                    <a:gd name="T0" fmla="*/ 58 w 156"/>
                    <a:gd name="T1" fmla="*/ 122 h 156"/>
                    <a:gd name="T2" fmla="*/ 64 w 156"/>
                    <a:gd name="T3" fmla="*/ 110 h 156"/>
                    <a:gd name="T4" fmla="*/ 81 w 156"/>
                    <a:gd name="T5" fmla="*/ 104 h 156"/>
                    <a:gd name="T6" fmla="*/ 93 w 156"/>
                    <a:gd name="T7" fmla="*/ 98 h 156"/>
                    <a:gd name="T8" fmla="*/ 98 w 156"/>
                    <a:gd name="T9" fmla="*/ 98 h 156"/>
                    <a:gd name="T10" fmla="*/ 104 w 156"/>
                    <a:gd name="T11" fmla="*/ 98 h 156"/>
                    <a:gd name="T12" fmla="*/ 116 w 156"/>
                    <a:gd name="T13" fmla="*/ 93 h 156"/>
                    <a:gd name="T14" fmla="*/ 145 w 156"/>
                    <a:gd name="T15" fmla="*/ 81 h 156"/>
                    <a:gd name="T16" fmla="*/ 151 w 156"/>
                    <a:gd name="T17" fmla="*/ 81 h 156"/>
                    <a:gd name="T18" fmla="*/ 151 w 156"/>
                    <a:gd name="T19" fmla="*/ 75 h 156"/>
                    <a:gd name="T20" fmla="*/ 156 w 156"/>
                    <a:gd name="T21" fmla="*/ 64 h 156"/>
                    <a:gd name="T22" fmla="*/ 151 w 156"/>
                    <a:gd name="T23" fmla="*/ 46 h 156"/>
                    <a:gd name="T24" fmla="*/ 151 w 156"/>
                    <a:gd name="T25" fmla="*/ 40 h 156"/>
                    <a:gd name="T26" fmla="*/ 145 w 156"/>
                    <a:gd name="T27" fmla="*/ 29 h 156"/>
                    <a:gd name="T28" fmla="*/ 139 w 156"/>
                    <a:gd name="T29" fmla="*/ 11 h 156"/>
                    <a:gd name="T30" fmla="*/ 139 w 156"/>
                    <a:gd name="T31" fmla="*/ 0 h 156"/>
                    <a:gd name="T32" fmla="*/ 116 w 156"/>
                    <a:gd name="T33" fmla="*/ 6 h 156"/>
                    <a:gd name="T34" fmla="*/ 110 w 156"/>
                    <a:gd name="T35" fmla="*/ 6 h 156"/>
                    <a:gd name="T36" fmla="*/ 93 w 156"/>
                    <a:gd name="T37" fmla="*/ 11 h 156"/>
                    <a:gd name="T38" fmla="*/ 81 w 156"/>
                    <a:gd name="T39" fmla="*/ 11 h 156"/>
                    <a:gd name="T40" fmla="*/ 52 w 156"/>
                    <a:gd name="T41" fmla="*/ 23 h 156"/>
                    <a:gd name="T42" fmla="*/ 40 w 156"/>
                    <a:gd name="T43" fmla="*/ 23 h 156"/>
                    <a:gd name="T44" fmla="*/ 35 w 156"/>
                    <a:gd name="T45" fmla="*/ 23 h 156"/>
                    <a:gd name="T46" fmla="*/ 6 w 156"/>
                    <a:gd name="T47" fmla="*/ 35 h 156"/>
                    <a:gd name="T48" fmla="*/ 0 w 156"/>
                    <a:gd name="T49" fmla="*/ 35 h 156"/>
                    <a:gd name="T50" fmla="*/ 0 w 156"/>
                    <a:gd name="T51" fmla="*/ 40 h 156"/>
                    <a:gd name="T52" fmla="*/ 6 w 156"/>
                    <a:gd name="T53" fmla="*/ 69 h 156"/>
                    <a:gd name="T54" fmla="*/ 6 w 156"/>
                    <a:gd name="T55" fmla="*/ 75 h 156"/>
                    <a:gd name="T56" fmla="*/ 6 w 156"/>
                    <a:gd name="T57" fmla="*/ 81 h 156"/>
                    <a:gd name="T58" fmla="*/ 6 w 156"/>
                    <a:gd name="T59" fmla="*/ 87 h 156"/>
                    <a:gd name="T60" fmla="*/ 11 w 156"/>
                    <a:gd name="T61" fmla="*/ 93 h 156"/>
                    <a:gd name="T62" fmla="*/ 11 w 156"/>
                    <a:gd name="T63" fmla="*/ 104 h 156"/>
                    <a:gd name="T64" fmla="*/ 11 w 156"/>
                    <a:gd name="T65" fmla="*/ 110 h 156"/>
                    <a:gd name="T66" fmla="*/ 23 w 156"/>
                    <a:gd name="T67" fmla="*/ 127 h 156"/>
                    <a:gd name="T68" fmla="*/ 6 w 156"/>
                    <a:gd name="T69" fmla="*/ 145 h 156"/>
                    <a:gd name="T70" fmla="*/ 17 w 156"/>
                    <a:gd name="T71" fmla="*/ 156 h 156"/>
                    <a:gd name="T72" fmla="*/ 35 w 156"/>
                    <a:gd name="T73" fmla="*/ 139 h 156"/>
                    <a:gd name="T74" fmla="*/ 46 w 156"/>
                    <a:gd name="T75" fmla="*/ 133 h 156"/>
                    <a:gd name="T76" fmla="*/ 58 w 156"/>
                    <a:gd name="T77" fmla="*/ 122 h 15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156"/>
                    <a:gd name="T118" fmla="*/ 0 h 156"/>
                    <a:gd name="T119" fmla="*/ 156 w 156"/>
                    <a:gd name="T120" fmla="*/ 156 h 156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156" h="156">
                      <a:moveTo>
                        <a:pt x="58" y="122"/>
                      </a:moveTo>
                      <a:lnTo>
                        <a:pt x="64" y="110"/>
                      </a:lnTo>
                      <a:lnTo>
                        <a:pt x="81" y="104"/>
                      </a:lnTo>
                      <a:lnTo>
                        <a:pt x="93" y="98"/>
                      </a:lnTo>
                      <a:lnTo>
                        <a:pt x="98" y="98"/>
                      </a:lnTo>
                      <a:lnTo>
                        <a:pt x="104" y="98"/>
                      </a:lnTo>
                      <a:lnTo>
                        <a:pt x="116" y="93"/>
                      </a:lnTo>
                      <a:lnTo>
                        <a:pt x="145" y="81"/>
                      </a:lnTo>
                      <a:lnTo>
                        <a:pt x="151" y="81"/>
                      </a:lnTo>
                      <a:lnTo>
                        <a:pt x="151" y="75"/>
                      </a:lnTo>
                      <a:lnTo>
                        <a:pt x="156" y="64"/>
                      </a:lnTo>
                      <a:lnTo>
                        <a:pt x="151" y="46"/>
                      </a:lnTo>
                      <a:lnTo>
                        <a:pt x="151" y="40"/>
                      </a:lnTo>
                      <a:lnTo>
                        <a:pt x="145" y="29"/>
                      </a:lnTo>
                      <a:lnTo>
                        <a:pt x="139" y="11"/>
                      </a:lnTo>
                      <a:lnTo>
                        <a:pt x="139" y="0"/>
                      </a:lnTo>
                      <a:lnTo>
                        <a:pt x="116" y="6"/>
                      </a:lnTo>
                      <a:lnTo>
                        <a:pt x="110" y="6"/>
                      </a:lnTo>
                      <a:lnTo>
                        <a:pt x="93" y="11"/>
                      </a:lnTo>
                      <a:lnTo>
                        <a:pt x="81" y="11"/>
                      </a:lnTo>
                      <a:lnTo>
                        <a:pt x="52" y="23"/>
                      </a:lnTo>
                      <a:lnTo>
                        <a:pt x="40" y="23"/>
                      </a:lnTo>
                      <a:lnTo>
                        <a:pt x="35" y="23"/>
                      </a:lnTo>
                      <a:lnTo>
                        <a:pt x="6" y="35"/>
                      </a:lnTo>
                      <a:lnTo>
                        <a:pt x="0" y="35"/>
                      </a:lnTo>
                      <a:lnTo>
                        <a:pt x="0" y="40"/>
                      </a:lnTo>
                      <a:lnTo>
                        <a:pt x="6" y="69"/>
                      </a:lnTo>
                      <a:lnTo>
                        <a:pt x="6" y="75"/>
                      </a:lnTo>
                      <a:lnTo>
                        <a:pt x="6" y="81"/>
                      </a:lnTo>
                      <a:lnTo>
                        <a:pt x="6" y="87"/>
                      </a:lnTo>
                      <a:lnTo>
                        <a:pt x="11" y="93"/>
                      </a:lnTo>
                      <a:lnTo>
                        <a:pt x="11" y="104"/>
                      </a:lnTo>
                      <a:lnTo>
                        <a:pt x="11" y="110"/>
                      </a:lnTo>
                      <a:lnTo>
                        <a:pt x="23" y="127"/>
                      </a:lnTo>
                      <a:lnTo>
                        <a:pt x="6" y="145"/>
                      </a:lnTo>
                      <a:lnTo>
                        <a:pt x="17" y="156"/>
                      </a:lnTo>
                      <a:lnTo>
                        <a:pt x="35" y="139"/>
                      </a:lnTo>
                      <a:lnTo>
                        <a:pt x="46" y="133"/>
                      </a:lnTo>
                      <a:lnTo>
                        <a:pt x="58" y="122"/>
                      </a:lnTo>
                      <a:close/>
                    </a:path>
                  </a:pathLst>
                </a:custGeom>
                <a:solidFill>
                  <a:srgbClr val="5B9BD5"/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8" name="Freeform 7"/>
                <p:cNvSpPr>
                  <a:spLocks/>
                </p:cNvSpPr>
                <p:nvPr/>
              </p:nvSpPr>
              <p:spPr bwMode="auto">
                <a:xfrm>
                  <a:off x="7055398" y="1016736"/>
                  <a:ext cx="488950" cy="257106"/>
                </a:xfrm>
                <a:custGeom>
                  <a:avLst/>
                  <a:gdLst>
                    <a:gd name="T0" fmla="*/ 238 w 308"/>
                    <a:gd name="T1" fmla="*/ 127 h 162"/>
                    <a:gd name="T2" fmla="*/ 226 w 308"/>
                    <a:gd name="T3" fmla="*/ 151 h 162"/>
                    <a:gd name="T4" fmla="*/ 215 w 308"/>
                    <a:gd name="T5" fmla="*/ 156 h 162"/>
                    <a:gd name="T6" fmla="*/ 209 w 308"/>
                    <a:gd name="T7" fmla="*/ 139 h 162"/>
                    <a:gd name="T8" fmla="*/ 197 w 308"/>
                    <a:gd name="T9" fmla="*/ 133 h 162"/>
                    <a:gd name="T10" fmla="*/ 186 w 308"/>
                    <a:gd name="T11" fmla="*/ 116 h 162"/>
                    <a:gd name="T12" fmla="*/ 180 w 308"/>
                    <a:gd name="T13" fmla="*/ 110 h 162"/>
                    <a:gd name="T14" fmla="*/ 174 w 308"/>
                    <a:gd name="T15" fmla="*/ 110 h 162"/>
                    <a:gd name="T16" fmla="*/ 162 w 308"/>
                    <a:gd name="T17" fmla="*/ 110 h 162"/>
                    <a:gd name="T18" fmla="*/ 122 w 308"/>
                    <a:gd name="T19" fmla="*/ 122 h 162"/>
                    <a:gd name="T20" fmla="*/ 99 w 308"/>
                    <a:gd name="T21" fmla="*/ 127 h 162"/>
                    <a:gd name="T22" fmla="*/ 58 w 308"/>
                    <a:gd name="T23" fmla="*/ 139 h 162"/>
                    <a:gd name="T24" fmla="*/ 41 w 308"/>
                    <a:gd name="T25" fmla="*/ 139 h 162"/>
                    <a:gd name="T26" fmla="*/ 6 w 308"/>
                    <a:gd name="T27" fmla="*/ 151 h 162"/>
                    <a:gd name="T28" fmla="*/ 0 w 308"/>
                    <a:gd name="T29" fmla="*/ 98 h 162"/>
                    <a:gd name="T30" fmla="*/ 0 w 308"/>
                    <a:gd name="T31" fmla="*/ 75 h 162"/>
                    <a:gd name="T32" fmla="*/ 17 w 308"/>
                    <a:gd name="T33" fmla="*/ 64 h 162"/>
                    <a:gd name="T34" fmla="*/ 29 w 308"/>
                    <a:gd name="T35" fmla="*/ 64 h 162"/>
                    <a:gd name="T36" fmla="*/ 64 w 308"/>
                    <a:gd name="T37" fmla="*/ 52 h 162"/>
                    <a:gd name="T38" fmla="*/ 75 w 308"/>
                    <a:gd name="T39" fmla="*/ 52 h 162"/>
                    <a:gd name="T40" fmla="*/ 99 w 308"/>
                    <a:gd name="T41" fmla="*/ 46 h 162"/>
                    <a:gd name="T42" fmla="*/ 110 w 308"/>
                    <a:gd name="T43" fmla="*/ 40 h 162"/>
                    <a:gd name="T44" fmla="*/ 162 w 308"/>
                    <a:gd name="T45" fmla="*/ 29 h 162"/>
                    <a:gd name="T46" fmla="*/ 180 w 308"/>
                    <a:gd name="T47" fmla="*/ 11 h 162"/>
                    <a:gd name="T48" fmla="*/ 197 w 308"/>
                    <a:gd name="T49" fmla="*/ 0 h 162"/>
                    <a:gd name="T50" fmla="*/ 215 w 308"/>
                    <a:gd name="T51" fmla="*/ 17 h 162"/>
                    <a:gd name="T52" fmla="*/ 209 w 308"/>
                    <a:gd name="T53" fmla="*/ 35 h 162"/>
                    <a:gd name="T54" fmla="*/ 197 w 308"/>
                    <a:gd name="T55" fmla="*/ 52 h 162"/>
                    <a:gd name="T56" fmla="*/ 203 w 308"/>
                    <a:gd name="T57" fmla="*/ 64 h 162"/>
                    <a:gd name="T58" fmla="*/ 220 w 308"/>
                    <a:gd name="T59" fmla="*/ 64 h 162"/>
                    <a:gd name="T60" fmla="*/ 232 w 308"/>
                    <a:gd name="T61" fmla="*/ 93 h 162"/>
                    <a:gd name="T62" fmla="*/ 244 w 308"/>
                    <a:gd name="T63" fmla="*/ 93 h 162"/>
                    <a:gd name="T64" fmla="*/ 278 w 308"/>
                    <a:gd name="T65" fmla="*/ 110 h 162"/>
                    <a:gd name="T66" fmla="*/ 296 w 308"/>
                    <a:gd name="T67" fmla="*/ 87 h 162"/>
                    <a:gd name="T68" fmla="*/ 278 w 308"/>
                    <a:gd name="T69" fmla="*/ 69 h 162"/>
                    <a:gd name="T70" fmla="*/ 308 w 308"/>
                    <a:gd name="T71" fmla="*/ 110 h 162"/>
                    <a:gd name="T72" fmla="*/ 302 w 308"/>
                    <a:gd name="T73" fmla="*/ 110 h 162"/>
                    <a:gd name="T74" fmla="*/ 267 w 308"/>
                    <a:gd name="T75" fmla="*/ 133 h 162"/>
                    <a:gd name="T76" fmla="*/ 249 w 308"/>
                    <a:gd name="T77" fmla="*/ 145 h 162"/>
                    <a:gd name="T78" fmla="*/ 232 w 308"/>
                    <a:gd name="T79" fmla="*/ 156 h 162"/>
                    <a:gd name="T80" fmla="*/ 249 w 308"/>
                    <a:gd name="T81" fmla="*/ 133 h 162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308"/>
                    <a:gd name="T124" fmla="*/ 0 h 162"/>
                    <a:gd name="T125" fmla="*/ 308 w 308"/>
                    <a:gd name="T126" fmla="*/ 162 h 162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308" h="162">
                      <a:moveTo>
                        <a:pt x="244" y="127"/>
                      </a:moveTo>
                      <a:lnTo>
                        <a:pt x="238" y="127"/>
                      </a:lnTo>
                      <a:lnTo>
                        <a:pt x="232" y="139"/>
                      </a:lnTo>
                      <a:lnTo>
                        <a:pt x="226" y="151"/>
                      </a:lnTo>
                      <a:lnTo>
                        <a:pt x="220" y="156"/>
                      </a:lnTo>
                      <a:lnTo>
                        <a:pt x="215" y="156"/>
                      </a:lnTo>
                      <a:lnTo>
                        <a:pt x="209" y="145"/>
                      </a:lnTo>
                      <a:lnTo>
                        <a:pt x="209" y="139"/>
                      </a:lnTo>
                      <a:lnTo>
                        <a:pt x="203" y="139"/>
                      </a:lnTo>
                      <a:lnTo>
                        <a:pt x="197" y="133"/>
                      </a:lnTo>
                      <a:lnTo>
                        <a:pt x="191" y="133"/>
                      </a:lnTo>
                      <a:lnTo>
                        <a:pt x="186" y="116"/>
                      </a:lnTo>
                      <a:lnTo>
                        <a:pt x="180" y="122"/>
                      </a:lnTo>
                      <a:lnTo>
                        <a:pt x="180" y="110"/>
                      </a:lnTo>
                      <a:lnTo>
                        <a:pt x="180" y="104"/>
                      </a:lnTo>
                      <a:lnTo>
                        <a:pt x="174" y="110"/>
                      </a:lnTo>
                      <a:lnTo>
                        <a:pt x="168" y="110"/>
                      </a:lnTo>
                      <a:lnTo>
                        <a:pt x="162" y="110"/>
                      </a:lnTo>
                      <a:lnTo>
                        <a:pt x="145" y="116"/>
                      </a:lnTo>
                      <a:lnTo>
                        <a:pt x="122" y="122"/>
                      </a:lnTo>
                      <a:lnTo>
                        <a:pt x="116" y="122"/>
                      </a:lnTo>
                      <a:lnTo>
                        <a:pt x="99" y="127"/>
                      </a:lnTo>
                      <a:lnTo>
                        <a:pt x="87" y="127"/>
                      </a:lnTo>
                      <a:lnTo>
                        <a:pt x="58" y="139"/>
                      </a:lnTo>
                      <a:lnTo>
                        <a:pt x="46" y="139"/>
                      </a:lnTo>
                      <a:lnTo>
                        <a:pt x="41" y="139"/>
                      </a:lnTo>
                      <a:lnTo>
                        <a:pt x="12" y="151"/>
                      </a:lnTo>
                      <a:lnTo>
                        <a:pt x="6" y="151"/>
                      </a:lnTo>
                      <a:lnTo>
                        <a:pt x="0" y="145"/>
                      </a:lnTo>
                      <a:lnTo>
                        <a:pt x="0" y="98"/>
                      </a:lnTo>
                      <a:lnTo>
                        <a:pt x="0" y="81"/>
                      </a:lnTo>
                      <a:lnTo>
                        <a:pt x="0" y="75"/>
                      </a:lnTo>
                      <a:lnTo>
                        <a:pt x="0" y="69"/>
                      </a:lnTo>
                      <a:lnTo>
                        <a:pt x="17" y="64"/>
                      </a:lnTo>
                      <a:lnTo>
                        <a:pt x="23" y="64"/>
                      </a:lnTo>
                      <a:lnTo>
                        <a:pt x="29" y="64"/>
                      </a:lnTo>
                      <a:lnTo>
                        <a:pt x="46" y="58"/>
                      </a:lnTo>
                      <a:lnTo>
                        <a:pt x="64" y="52"/>
                      </a:lnTo>
                      <a:lnTo>
                        <a:pt x="70" y="52"/>
                      </a:lnTo>
                      <a:lnTo>
                        <a:pt x="75" y="52"/>
                      </a:lnTo>
                      <a:lnTo>
                        <a:pt x="81" y="52"/>
                      </a:lnTo>
                      <a:lnTo>
                        <a:pt x="99" y="46"/>
                      </a:lnTo>
                      <a:lnTo>
                        <a:pt x="110" y="46"/>
                      </a:lnTo>
                      <a:lnTo>
                        <a:pt x="110" y="40"/>
                      </a:lnTo>
                      <a:lnTo>
                        <a:pt x="116" y="40"/>
                      </a:lnTo>
                      <a:lnTo>
                        <a:pt x="162" y="29"/>
                      </a:lnTo>
                      <a:lnTo>
                        <a:pt x="162" y="23"/>
                      </a:lnTo>
                      <a:lnTo>
                        <a:pt x="180" y="11"/>
                      </a:lnTo>
                      <a:lnTo>
                        <a:pt x="180" y="6"/>
                      </a:lnTo>
                      <a:lnTo>
                        <a:pt x="197" y="0"/>
                      </a:lnTo>
                      <a:lnTo>
                        <a:pt x="209" y="17"/>
                      </a:lnTo>
                      <a:lnTo>
                        <a:pt x="215" y="17"/>
                      </a:lnTo>
                      <a:lnTo>
                        <a:pt x="220" y="23"/>
                      </a:lnTo>
                      <a:lnTo>
                        <a:pt x="209" y="35"/>
                      </a:lnTo>
                      <a:lnTo>
                        <a:pt x="203" y="52"/>
                      </a:lnTo>
                      <a:lnTo>
                        <a:pt x="197" y="52"/>
                      </a:lnTo>
                      <a:lnTo>
                        <a:pt x="197" y="58"/>
                      </a:lnTo>
                      <a:lnTo>
                        <a:pt x="203" y="64"/>
                      </a:lnTo>
                      <a:lnTo>
                        <a:pt x="215" y="64"/>
                      </a:lnTo>
                      <a:lnTo>
                        <a:pt x="220" y="64"/>
                      </a:lnTo>
                      <a:lnTo>
                        <a:pt x="244" y="87"/>
                      </a:lnTo>
                      <a:lnTo>
                        <a:pt x="232" y="93"/>
                      </a:lnTo>
                      <a:lnTo>
                        <a:pt x="244" y="98"/>
                      </a:lnTo>
                      <a:lnTo>
                        <a:pt x="244" y="93"/>
                      </a:lnTo>
                      <a:lnTo>
                        <a:pt x="255" y="110"/>
                      </a:lnTo>
                      <a:lnTo>
                        <a:pt x="278" y="110"/>
                      </a:lnTo>
                      <a:lnTo>
                        <a:pt x="296" y="98"/>
                      </a:lnTo>
                      <a:lnTo>
                        <a:pt x="296" y="87"/>
                      </a:lnTo>
                      <a:lnTo>
                        <a:pt x="290" y="87"/>
                      </a:lnTo>
                      <a:lnTo>
                        <a:pt x="278" y="69"/>
                      </a:lnTo>
                      <a:lnTo>
                        <a:pt x="290" y="75"/>
                      </a:lnTo>
                      <a:lnTo>
                        <a:pt x="308" y="110"/>
                      </a:lnTo>
                      <a:lnTo>
                        <a:pt x="308" y="122"/>
                      </a:lnTo>
                      <a:lnTo>
                        <a:pt x="302" y="110"/>
                      </a:lnTo>
                      <a:lnTo>
                        <a:pt x="273" y="127"/>
                      </a:lnTo>
                      <a:lnTo>
                        <a:pt x="267" y="133"/>
                      </a:lnTo>
                      <a:lnTo>
                        <a:pt x="255" y="139"/>
                      </a:lnTo>
                      <a:lnTo>
                        <a:pt x="249" y="145"/>
                      </a:lnTo>
                      <a:lnTo>
                        <a:pt x="232" y="162"/>
                      </a:lnTo>
                      <a:lnTo>
                        <a:pt x="232" y="156"/>
                      </a:lnTo>
                      <a:lnTo>
                        <a:pt x="249" y="145"/>
                      </a:lnTo>
                      <a:lnTo>
                        <a:pt x="249" y="133"/>
                      </a:lnTo>
                      <a:lnTo>
                        <a:pt x="244" y="127"/>
                      </a:lnTo>
                      <a:close/>
                    </a:path>
                  </a:pathLst>
                </a:custGeom>
                <a:solidFill>
                  <a:srgbClr val="5B9BD5"/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9" name="Freeform 8"/>
                <p:cNvSpPr>
                  <a:spLocks/>
                </p:cNvSpPr>
                <p:nvPr/>
              </p:nvSpPr>
              <p:spPr bwMode="auto">
                <a:xfrm>
                  <a:off x="7242175" y="1353775"/>
                  <a:ext cx="46038" cy="36503"/>
                </a:xfrm>
                <a:custGeom>
                  <a:avLst/>
                  <a:gdLst>
                    <a:gd name="T0" fmla="*/ 0 w 29"/>
                    <a:gd name="T1" fmla="*/ 23 h 23"/>
                    <a:gd name="T2" fmla="*/ 5 w 29"/>
                    <a:gd name="T3" fmla="*/ 23 h 23"/>
                    <a:gd name="T4" fmla="*/ 29 w 29"/>
                    <a:gd name="T5" fmla="*/ 11 h 23"/>
                    <a:gd name="T6" fmla="*/ 29 w 29"/>
                    <a:gd name="T7" fmla="*/ 6 h 23"/>
                    <a:gd name="T8" fmla="*/ 17 w 29"/>
                    <a:gd name="T9" fmla="*/ 0 h 23"/>
                    <a:gd name="T10" fmla="*/ 5 w 29"/>
                    <a:gd name="T11" fmla="*/ 17 h 23"/>
                    <a:gd name="T12" fmla="*/ 0 w 29"/>
                    <a:gd name="T13" fmla="*/ 23 h 2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9"/>
                    <a:gd name="T22" fmla="*/ 0 h 23"/>
                    <a:gd name="T23" fmla="*/ 29 w 29"/>
                    <a:gd name="T24" fmla="*/ 23 h 2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9" h="23">
                      <a:moveTo>
                        <a:pt x="0" y="23"/>
                      </a:moveTo>
                      <a:lnTo>
                        <a:pt x="5" y="23"/>
                      </a:lnTo>
                      <a:lnTo>
                        <a:pt x="29" y="11"/>
                      </a:lnTo>
                      <a:lnTo>
                        <a:pt x="29" y="6"/>
                      </a:lnTo>
                      <a:lnTo>
                        <a:pt x="17" y="0"/>
                      </a:lnTo>
                      <a:lnTo>
                        <a:pt x="5" y="17"/>
                      </a:lnTo>
                      <a:lnTo>
                        <a:pt x="0" y="23"/>
                      </a:lnTo>
                      <a:close/>
                    </a:path>
                  </a:pathLst>
                </a:custGeom>
                <a:grpFill/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0" name="Freeform 9"/>
                <p:cNvSpPr>
                  <a:spLocks/>
                </p:cNvSpPr>
                <p:nvPr/>
              </p:nvSpPr>
              <p:spPr bwMode="auto">
                <a:xfrm>
                  <a:off x="7315200" y="1344253"/>
                  <a:ext cx="36513" cy="26980"/>
                </a:xfrm>
                <a:custGeom>
                  <a:avLst/>
                  <a:gdLst>
                    <a:gd name="T0" fmla="*/ 0 w 23"/>
                    <a:gd name="T1" fmla="*/ 17 h 17"/>
                    <a:gd name="T2" fmla="*/ 18 w 23"/>
                    <a:gd name="T3" fmla="*/ 17 h 17"/>
                    <a:gd name="T4" fmla="*/ 23 w 23"/>
                    <a:gd name="T5" fmla="*/ 12 h 17"/>
                    <a:gd name="T6" fmla="*/ 23 w 23"/>
                    <a:gd name="T7" fmla="*/ 6 h 17"/>
                    <a:gd name="T8" fmla="*/ 18 w 23"/>
                    <a:gd name="T9" fmla="*/ 0 h 17"/>
                    <a:gd name="T10" fmla="*/ 18 w 23"/>
                    <a:gd name="T11" fmla="*/ 12 h 17"/>
                    <a:gd name="T12" fmla="*/ 6 w 23"/>
                    <a:gd name="T13" fmla="*/ 17 h 17"/>
                    <a:gd name="T14" fmla="*/ 0 w 23"/>
                    <a:gd name="T15" fmla="*/ 17 h 1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3"/>
                    <a:gd name="T25" fmla="*/ 0 h 17"/>
                    <a:gd name="T26" fmla="*/ 23 w 23"/>
                    <a:gd name="T27" fmla="*/ 17 h 1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3" h="17">
                      <a:moveTo>
                        <a:pt x="0" y="17"/>
                      </a:moveTo>
                      <a:lnTo>
                        <a:pt x="18" y="17"/>
                      </a:lnTo>
                      <a:lnTo>
                        <a:pt x="23" y="12"/>
                      </a:lnTo>
                      <a:lnTo>
                        <a:pt x="23" y="6"/>
                      </a:lnTo>
                      <a:lnTo>
                        <a:pt x="18" y="0"/>
                      </a:lnTo>
                      <a:lnTo>
                        <a:pt x="18" y="12"/>
                      </a:lnTo>
                      <a:lnTo>
                        <a:pt x="6" y="17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1" name="Freeform 10"/>
                <p:cNvSpPr>
                  <a:spLocks/>
                </p:cNvSpPr>
                <p:nvPr/>
              </p:nvSpPr>
              <p:spPr bwMode="auto">
                <a:xfrm>
                  <a:off x="6511629" y="1743617"/>
                  <a:ext cx="654051" cy="322175"/>
                </a:xfrm>
                <a:custGeom>
                  <a:avLst/>
                  <a:gdLst>
                    <a:gd name="T0" fmla="*/ 116 w 412"/>
                    <a:gd name="T1" fmla="*/ 41 h 203"/>
                    <a:gd name="T2" fmla="*/ 174 w 412"/>
                    <a:gd name="T3" fmla="*/ 29 h 203"/>
                    <a:gd name="T4" fmla="*/ 209 w 412"/>
                    <a:gd name="T5" fmla="*/ 23 h 203"/>
                    <a:gd name="T6" fmla="*/ 232 w 412"/>
                    <a:gd name="T7" fmla="*/ 17 h 203"/>
                    <a:gd name="T8" fmla="*/ 249 w 412"/>
                    <a:gd name="T9" fmla="*/ 12 h 203"/>
                    <a:gd name="T10" fmla="*/ 284 w 412"/>
                    <a:gd name="T11" fmla="*/ 6 h 203"/>
                    <a:gd name="T12" fmla="*/ 319 w 412"/>
                    <a:gd name="T13" fmla="*/ 0 h 203"/>
                    <a:gd name="T14" fmla="*/ 331 w 412"/>
                    <a:gd name="T15" fmla="*/ 41 h 203"/>
                    <a:gd name="T16" fmla="*/ 336 w 412"/>
                    <a:gd name="T17" fmla="*/ 58 h 203"/>
                    <a:gd name="T18" fmla="*/ 348 w 412"/>
                    <a:gd name="T19" fmla="*/ 104 h 203"/>
                    <a:gd name="T20" fmla="*/ 354 w 412"/>
                    <a:gd name="T21" fmla="*/ 122 h 203"/>
                    <a:gd name="T22" fmla="*/ 389 w 412"/>
                    <a:gd name="T23" fmla="*/ 128 h 203"/>
                    <a:gd name="T24" fmla="*/ 412 w 412"/>
                    <a:gd name="T25" fmla="*/ 122 h 203"/>
                    <a:gd name="T26" fmla="*/ 394 w 412"/>
                    <a:gd name="T27" fmla="*/ 180 h 203"/>
                    <a:gd name="T28" fmla="*/ 371 w 412"/>
                    <a:gd name="T29" fmla="*/ 191 h 203"/>
                    <a:gd name="T30" fmla="*/ 354 w 412"/>
                    <a:gd name="T31" fmla="*/ 174 h 203"/>
                    <a:gd name="T32" fmla="*/ 342 w 412"/>
                    <a:gd name="T33" fmla="*/ 162 h 203"/>
                    <a:gd name="T34" fmla="*/ 331 w 412"/>
                    <a:gd name="T35" fmla="*/ 168 h 203"/>
                    <a:gd name="T36" fmla="*/ 302 w 412"/>
                    <a:gd name="T37" fmla="*/ 145 h 203"/>
                    <a:gd name="T38" fmla="*/ 313 w 412"/>
                    <a:gd name="T39" fmla="*/ 128 h 203"/>
                    <a:gd name="T40" fmla="*/ 296 w 412"/>
                    <a:gd name="T41" fmla="*/ 116 h 203"/>
                    <a:gd name="T42" fmla="*/ 296 w 412"/>
                    <a:gd name="T43" fmla="*/ 99 h 203"/>
                    <a:gd name="T44" fmla="*/ 296 w 412"/>
                    <a:gd name="T45" fmla="*/ 87 h 203"/>
                    <a:gd name="T46" fmla="*/ 290 w 412"/>
                    <a:gd name="T47" fmla="*/ 75 h 203"/>
                    <a:gd name="T48" fmla="*/ 307 w 412"/>
                    <a:gd name="T49" fmla="*/ 41 h 203"/>
                    <a:gd name="T50" fmla="*/ 296 w 412"/>
                    <a:gd name="T51" fmla="*/ 35 h 203"/>
                    <a:gd name="T52" fmla="*/ 278 w 412"/>
                    <a:gd name="T53" fmla="*/ 46 h 203"/>
                    <a:gd name="T54" fmla="*/ 267 w 412"/>
                    <a:gd name="T55" fmla="*/ 70 h 203"/>
                    <a:gd name="T56" fmla="*/ 273 w 412"/>
                    <a:gd name="T57" fmla="*/ 116 h 203"/>
                    <a:gd name="T58" fmla="*/ 302 w 412"/>
                    <a:gd name="T59" fmla="*/ 157 h 203"/>
                    <a:gd name="T60" fmla="*/ 302 w 412"/>
                    <a:gd name="T61" fmla="*/ 174 h 203"/>
                    <a:gd name="T62" fmla="*/ 302 w 412"/>
                    <a:gd name="T63" fmla="*/ 186 h 203"/>
                    <a:gd name="T64" fmla="*/ 267 w 412"/>
                    <a:gd name="T65" fmla="*/ 180 h 203"/>
                    <a:gd name="T66" fmla="*/ 255 w 412"/>
                    <a:gd name="T67" fmla="*/ 180 h 203"/>
                    <a:gd name="T68" fmla="*/ 232 w 412"/>
                    <a:gd name="T69" fmla="*/ 174 h 203"/>
                    <a:gd name="T70" fmla="*/ 226 w 412"/>
                    <a:gd name="T71" fmla="*/ 145 h 203"/>
                    <a:gd name="T72" fmla="*/ 232 w 412"/>
                    <a:gd name="T73" fmla="*/ 128 h 203"/>
                    <a:gd name="T74" fmla="*/ 232 w 412"/>
                    <a:gd name="T75" fmla="*/ 104 h 203"/>
                    <a:gd name="T76" fmla="*/ 220 w 412"/>
                    <a:gd name="T77" fmla="*/ 110 h 203"/>
                    <a:gd name="T78" fmla="*/ 197 w 412"/>
                    <a:gd name="T79" fmla="*/ 99 h 203"/>
                    <a:gd name="T80" fmla="*/ 180 w 412"/>
                    <a:gd name="T81" fmla="*/ 81 h 203"/>
                    <a:gd name="T82" fmla="*/ 162 w 412"/>
                    <a:gd name="T83" fmla="*/ 81 h 203"/>
                    <a:gd name="T84" fmla="*/ 145 w 412"/>
                    <a:gd name="T85" fmla="*/ 64 h 203"/>
                    <a:gd name="T86" fmla="*/ 116 w 412"/>
                    <a:gd name="T87" fmla="*/ 46 h 203"/>
                    <a:gd name="T88" fmla="*/ 98 w 412"/>
                    <a:gd name="T89" fmla="*/ 58 h 203"/>
                    <a:gd name="T90" fmla="*/ 75 w 412"/>
                    <a:gd name="T91" fmla="*/ 70 h 203"/>
                    <a:gd name="T92" fmla="*/ 40 w 412"/>
                    <a:gd name="T93" fmla="*/ 87 h 203"/>
                    <a:gd name="T94" fmla="*/ 23 w 412"/>
                    <a:gd name="T95" fmla="*/ 104 h 203"/>
                    <a:gd name="T96" fmla="*/ 6 w 412"/>
                    <a:gd name="T97" fmla="*/ 87 h 203"/>
                    <a:gd name="T98" fmla="*/ 35 w 412"/>
                    <a:gd name="T99" fmla="*/ 58 h 203"/>
                    <a:gd name="T100" fmla="*/ 58 w 412"/>
                    <a:gd name="T101" fmla="*/ 52 h 203"/>
                    <a:gd name="T102" fmla="*/ 98 w 412"/>
                    <a:gd name="T103" fmla="*/ 46 h 203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412"/>
                    <a:gd name="T157" fmla="*/ 0 h 203"/>
                    <a:gd name="T158" fmla="*/ 412 w 412"/>
                    <a:gd name="T159" fmla="*/ 203 h 203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412" h="203">
                      <a:moveTo>
                        <a:pt x="98" y="46"/>
                      </a:moveTo>
                      <a:lnTo>
                        <a:pt x="104" y="46"/>
                      </a:lnTo>
                      <a:lnTo>
                        <a:pt x="116" y="41"/>
                      </a:lnTo>
                      <a:lnTo>
                        <a:pt x="128" y="41"/>
                      </a:lnTo>
                      <a:lnTo>
                        <a:pt x="168" y="29"/>
                      </a:lnTo>
                      <a:lnTo>
                        <a:pt x="174" y="29"/>
                      </a:lnTo>
                      <a:lnTo>
                        <a:pt x="186" y="29"/>
                      </a:lnTo>
                      <a:lnTo>
                        <a:pt x="191" y="23"/>
                      </a:lnTo>
                      <a:lnTo>
                        <a:pt x="209" y="23"/>
                      </a:lnTo>
                      <a:lnTo>
                        <a:pt x="215" y="23"/>
                      </a:lnTo>
                      <a:lnTo>
                        <a:pt x="220" y="17"/>
                      </a:lnTo>
                      <a:lnTo>
                        <a:pt x="232" y="17"/>
                      </a:lnTo>
                      <a:lnTo>
                        <a:pt x="238" y="17"/>
                      </a:lnTo>
                      <a:lnTo>
                        <a:pt x="244" y="12"/>
                      </a:lnTo>
                      <a:lnTo>
                        <a:pt x="249" y="12"/>
                      </a:lnTo>
                      <a:lnTo>
                        <a:pt x="255" y="12"/>
                      </a:lnTo>
                      <a:lnTo>
                        <a:pt x="278" y="6"/>
                      </a:lnTo>
                      <a:lnTo>
                        <a:pt x="284" y="6"/>
                      </a:lnTo>
                      <a:lnTo>
                        <a:pt x="302" y="0"/>
                      </a:lnTo>
                      <a:lnTo>
                        <a:pt x="307" y="0"/>
                      </a:lnTo>
                      <a:lnTo>
                        <a:pt x="319" y="0"/>
                      </a:lnTo>
                      <a:lnTo>
                        <a:pt x="319" y="6"/>
                      </a:lnTo>
                      <a:lnTo>
                        <a:pt x="325" y="35"/>
                      </a:lnTo>
                      <a:lnTo>
                        <a:pt x="331" y="41"/>
                      </a:lnTo>
                      <a:lnTo>
                        <a:pt x="331" y="46"/>
                      </a:lnTo>
                      <a:lnTo>
                        <a:pt x="331" y="52"/>
                      </a:lnTo>
                      <a:lnTo>
                        <a:pt x="336" y="58"/>
                      </a:lnTo>
                      <a:lnTo>
                        <a:pt x="342" y="75"/>
                      </a:lnTo>
                      <a:lnTo>
                        <a:pt x="348" y="93"/>
                      </a:lnTo>
                      <a:lnTo>
                        <a:pt x="348" y="104"/>
                      </a:lnTo>
                      <a:lnTo>
                        <a:pt x="348" y="110"/>
                      </a:lnTo>
                      <a:lnTo>
                        <a:pt x="354" y="116"/>
                      </a:lnTo>
                      <a:lnTo>
                        <a:pt x="354" y="122"/>
                      </a:lnTo>
                      <a:lnTo>
                        <a:pt x="360" y="133"/>
                      </a:lnTo>
                      <a:lnTo>
                        <a:pt x="377" y="133"/>
                      </a:lnTo>
                      <a:lnTo>
                        <a:pt x="389" y="128"/>
                      </a:lnTo>
                      <a:lnTo>
                        <a:pt x="400" y="128"/>
                      </a:lnTo>
                      <a:lnTo>
                        <a:pt x="406" y="122"/>
                      </a:lnTo>
                      <a:lnTo>
                        <a:pt x="412" y="122"/>
                      </a:lnTo>
                      <a:lnTo>
                        <a:pt x="412" y="133"/>
                      </a:lnTo>
                      <a:lnTo>
                        <a:pt x="406" y="174"/>
                      </a:lnTo>
                      <a:lnTo>
                        <a:pt x="394" y="180"/>
                      </a:lnTo>
                      <a:lnTo>
                        <a:pt x="389" y="180"/>
                      </a:lnTo>
                      <a:lnTo>
                        <a:pt x="377" y="186"/>
                      </a:lnTo>
                      <a:lnTo>
                        <a:pt x="371" y="191"/>
                      </a:lnTo>
                      <a:lnTo>
                        <a:pt x="365" y="191"/>
                      </a:lnTo>
                      <a:lnTo>
                        <a:pt x="354" y="203"/>
                      </a:lnTo>
                      <a:lnTo>
                        <a:pt x="354" y="174"/>
                      </a:lnTo>
                      <a:lnTo>
                        <a:pt x="342" y="180"/>
                      </a:lnTo>
                      <a:lnTo>
                        <a:pt x="348" y="162"/>
                      </a:lnTo>
                      <a:lnTo>
                        <a:pt x="342" y="162"/>
                      </a:lnTo>
                      <a:lnTo>
                        <a:pt x="336" y="162"/>
                      </a:lnTo>
                      <a:lnTo>
                        <a:pt x="336" y="151"/>
                      </a:lnTo>
                      <a:lnTo>
                        <a:pt x="331" y="168"/>
                      </a:lnTo>
                      <a:lnTo>
                        <a:pt x="319" y="168"/>
                      </a:lnTo>
                      <a:lnTo>
                        <a:pt x="313" y="162"/>
                      </a:lnTo>
                      <a:lnTo>
                        <a:pt x="302" y="145"/>
                      </a:lnTo>
                      <a:lnTo>
                        <a:pt x="307" y="139"/>
                      </a:lnTo>
                      <a:lnTo>
                        <a:pt x="302" y="128"/>
                      </a:lnTo>
                      <a:lnTo>
                        <a:pt x="313" y="128"/>
                      </a:lnTo>
                      <a:lnTo>
                        <a:pt x="302" y="116"/>
                      </a:lnTo>
                      <a:lnTo>
                        <a:pt x="296" y="122"/>
                      </a:lnTo>
                      <a:lnTo>
                        <a:pt x="296" y="116"/>
                      </a:lnTo>
                      <a:lnTo>
                        <a:pt x="302" y="104"/>
                      </a:lnTo>
                      <a:lnTo>
                        <a:pt x="296" y="93"/>
                      </a:lnTo>
                      <a:lnTo>
                        <a:pt x="296" y="99"/>
                      </a:lnTo>
                      <a:lnTo>
                        <a:pt x="290" y="104"/>
                      </a:lnTo>
                      <a:lnTo>
                        <a:pt x="290" y="81"/>
                      </a:lnTo>
                      <a:lnTo>
                        <a:pt x="296" y="87"/>
                      </a:lnTo>
                      <a:lnTo>
                        <a:pt x="302" y="87"/>
                      </a:lnTo>
                      <a:lnTo>
                        <a:pt x="302" y="75"/>
                      </a:lnTo>
                      <a:lnTo>
                        <a:pt x="290" y="75"/>
                      </a:lnTo>
                      <a:lnTo>
                        <a:pt x="290" y="64"/>
                      </a:lnTo>
                      <a:lnTo>
                        <a:pt x="296" y="46"/>
                      </a:lnTo>
                      <a:lnTo>
                        <a:pt x="307" y="41"/>
                      </a:lnTo>
                      <a:lnTo>
                        <a:pt x="302" y="17"/>
                      </a:lnTo>
                      <a:lnTo>
                        <a:pt x="296" y="23"/>
                      </a:lnTo>
                      <a:lnTo>
                        <a:pt x="296" y="35"/>
                      </a:lnTo>
                      <a:lnTo>
                        <a:pt x="284" y="46"/>
                      </a:lnTo>
                      <a:lnTo>
                        <a:pt x="284" y="52"/>
                      </a:lnTo>
                      <a:lnTo>
                        <a:pt x="278" y="46"/>
                      </a:lnTo>
                      <a:lnTo>
                        <a:pt x="278" y="58"/>
                      </a:lnTo>
                      <a:lnTo>
                        <a:pt x="278" y="64"/>
                      </a:lnTo>
                      <a:lnTo>
                        <a:pt x="267" y="70"/>
                      </a:lnTo>
                      <a:lnTo>
                        <a:pt x="278" y="75"/>
                      </a:lnTo>
                      <a:lnTo>
                        <a:pt x="278" y="87"/>
                      </a:lnTo>
                      <a:lnTo>
                        <a:pt x="273" y="116"/>
                      </a:lnTo>
                      <a:lnTo>
                        <a:pt x="278" y="122"/>
                      </a:lnTo>
                      <a:lnTo>
                        <a:pt x="284" y="145"/>
                      </a:lnTo>
                      <a:lnTo>
                        <a:pt x="302" y="157"/>
                      </a:lnTo>
                      <a:lnTo>
                        <a:pt x="296" y="168"/>
                      </a:lnTo>
                      <a:lnTo>
                        <a:pt x="302" y="168"/>
                      </a:lnTo>
                      <a:lnTo>
                        <a:pt x="302" y="174"/>
                      </a:lnTo>
                      <a:lnTo>
                        <a:pt x="313" y="186"/>
                      </a:lnTo>
                      <a:lnTo>
                        <a:pt x="313" y="197"/>
                      </a:lnTo>
                      <a:lnTo>
                        <a:pt x="302" y="186"/>
                      </a:lnTo>
                      <a:lnTo>
                        <a:pt x="302" y="191"/>
                      </a:lnTo>
                      <a:lnTo>
                        <a:pt x="284" y="180"/>
                      </a:lnTo>
                      <a:lnTo>
                        <a:pt x="267" y="180"/>
                      </a:lnTo>
                      <a:lnTo>
                        <a:pt x="261" y="174"/>
                      </a:lnTo>
                      <a:lnTo>
                        <a:pt x="261" y="180"/>
                      </a:lnTo>
                      <a:lnTo>
                        <a:pt x="255" y="180"/>
                      </a:lnTo>
                      <a:lnTo>
                        <a:pt x="244" y="168"/>
                      </a:lnTo>
                      <a:lnTo>
                        <a:pt x="232" y="168"/>
                      </a:lnTo>
                      <a:lnTo>
                        <a:pt x="232" y="174"/>
                      </a:lnTo>
                      <a:lnTo>
                        <a:pt x="226" y="174"/>
                      </a:lnTo>
                      <a:lnTo>
                        <a:pt x="220" y="157"/>
                      </a:lnTo>
                      <a:lnTo>
                        <a:pt x="226" y="145"/>
                      </a:lnTo>
                      <a:lnTo>
                        <a:pt x="226" y="139"/>
                      </a:lnTo>
                      <a:lnTo>
                        <a:pt x="232" y="133"/>
                      </a:lnTo>
                      <a:lnTo>
                        <a:pt x="232" y="128"/>
                      </a:lnTo>
                      <a:lnTo>
                        <a:pt x="238" y="116"/>
                      </a:lnTo>
                      <a:lnTo>
                        <a:pt x="244" y="110"/>
                      </a:lnTo>
                      <a:lnTo>
                        <a:pt x="232" y="104"/>
                      </a:lnTo>
                      <a:lnTo>
                        <a:pt x="226" y="104"/>
                      </a:lnTo>
                      <a:lnTo>
                        <a:pt x="226" y="110"/>
                      </a:lnTo>
                      <a:lnTo>
                        <a:pt x="220" y="110"/>
                      </a:lnTo>
                      <a:lnTo>
                        <a:pt x="209" y="104"/>
                      </a:lnTo>
                      <a:lnTo>
                        <a:pt x="203" y="99"/>
                      </a:lnTo>
                      <a:lnTo>
                        <a:pt x="197" y="99"/>
                      </a:lnTo>
                      <a:lnTo>
                        <a:pt x="180" y="99"/>
                      </a:lnTo>
                      <a:lnTo>
                        <a:pt x="186" y="87"/>
                      </a:lnTo>
                      <a:lnTo>
                        <a:pt x="180" y="81"/>
                      </a:lnTo>
                      <a:lnTo>
                        <a:pt x="168" y="81"/>
                      </a:lnTo>
                      <a:lnTo>
                        <a:pt x="162" y="75"/>
                      </a:lnTo>
                      <a:lnTo>
                        <a:pt x="162" y="81"/>
                      </a:lnTo>
                      <a:lnTo>
                        <a:pt x="157" y="75"/>
                      </a:lnTo>
                      <a:lnTo>
                        <a:pt x="157" y="70"/>
                      </a:lnTo>
                      <a:lnTo>
                        <a:pt x="145" y="64"/>
                      </a:lnTo>
                      <a:lnTo>
                        <a:pt x="139" y="46"/>
                      </a:lnTo>
                      <a:lnTo>
                        <a:pt x="128" y="52"/>
                      </a:lnTo>
                      <a:lnTo>
                        <a:pt x="116" y="46"/>
                      </a:lnTo>
                      <a:lnTo>
                        <a:pt x="104" y="52"/>
                      </a:lnTo>
                      <a:lnTo>
                        <a:pt x="98" y="52"/>
                      </a:lnTo>
                      <a:lnTo>
                        <a:pt x="98" y="58"/>
                      </a:lnTo>
                      <a:lnTo>
                        <a:pt x="93" y="70"/>
                      </a:lnTo>
                      <a:lnTo>
                        <a:pt x="87" y="70"/>
                      </a:lnTo>
                      <a:lnTo>
                        <a:pt x="75" y="70"/>
                      </a:lnTo>
                      <a:lnTo>
                        <a:pt x="58" y="64"/>
                      </a:lnTo>
                      <a:lnTo>
                        <a:pt x="46" y="87"/>
                      </a:lnTo>
                      <a:lnTo>
                        <a:pt x="40" y="87"/>
                      </a:lnTo>
                      <a:lnTo>
                        <a:pt x="29" y="99"/>
                      </a:lnTo>
                      <a:lnTo>
                        <a:pt x="29" y="104"/>
                      </a:lnTo>
                      <a:lnTo>
                        <a:pt x="23" y="104"/>
                      </a:lnTo>
                      <a:lnTo>
                        <a:pt x="17" y="116"/>
                      </a:lnTo>
                      <a:lnTo>
                        <a:pt x="11" y="122"/>
                      </a:lnTo>
                      <a:lnTo>
                        <a:pt x="6" y="87"/>
                      </a:lnTo>
                      <a:lnTo>
                        <a:pt x="0" y="64"/>
                      </a:lnTo>
                      <a:lnTo>
                        <a:pt x="6" y="64"/>
                      </a:lnTo>
                      <a:lnTo>
                        <a:pt x="35" y="58"/>
                      </a:lnTo>
                      <a:lnTo>
                        <a:pt x="46" y="58"/>
                      </a:lnTo>
                      <a:lnTo>
                        <a:pt x="52" y="52"/>
                      </a:lnTo>
                      <a:lnTo>
                        <a:pt x="58" y="52"/>
                      </a:lnTo>
                      <a:lnTo>
                        <a:pt x="81" y="46"/>
                      </a:lnTo>
                      <a:lnTo>
                        <a:pt x="93" y="46"/>
                      </a:lnTo>
                      <a:lnTo>
                        <a:pt x="98" y="46"/>
                      </a:lnTo>
                      <a:close/>
                    </a:path>
                  </a:pathLst>
                </a:custGeom>
                <a:solidFill>
                  <a:srgbClr val="5B9BD5"/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2" name="Freeform 11"/>
                <p:cNvSpPr>
                  <a:spLocks/>
                </p:cNvSpPr>
                <p:nvPr/>
              </p:nvSpPr>
              <p:spPr bwMode="auto">
                <a:xfrm>
                  <a:off x="7368879" y="142258"/>
                  <a:ext cx="523874" cy="837976"/>
                </a:xfrm>
                <a:custGeom>
                  <a:avLst/>
                  <a:gdLst>
                    <a:gd name="T0" fmla="*/ 46 w 330"/>
                    <a:gd name="T1" fmla="*/ 429 h 528"/>
                    <a:gd name="T2" fmla="*/ 34 w 330"/>
                    <a:gd name="T3" fmla="*/ 400 h 528"/>
                    <a:gd name="T4" fmla="*/ 0 w 330"/>
                    <a:gd name="T5" fmla="*/ 301 h 528"/>
                    <a:gd name="T6" fmla="*/ 0 w 330"/>
                    <a:gd name="T7" fmla="*/ 284 h 528"/>
                    <a:gd name="T8" fmla="*/ 17 w 330"/>
                    <a:gd name="T9" fmla="*/ 290 h 528"/>
                    <a:gd name="T10" fmla="*/ 29 w 330"/>
                    <a:gd name="T11" fmla="*/ 272 h 528"/>
                    <a:gd name="T12" fmla="*/ 29 w 330"/>
                    <a:gd name="T13" fmla="*/ 237 h 528"/>
                    <a:gd name="T14" fmla="*/ 40 w 330"/>
                    <a:gd name="T15" fmla="*/ 203 h 528"/>
                    <a:gd name="T16" fmla="*/ 34 w 330"/>
                    <a:gd name="T17" fmla="*/ 179 h 528"/>
                    <a:gd name="T18" fmla="*/ 40 w 330"/>
                    <a:gd name="T19" fmla="*/ 145 h 528"/>
                    <a:gd name="T20" fmla="*/ 34 w 330"/>
                    <a:gd name="T21" fmla="*/ 116 h 528"/>
                    <a:gd name="T22" fmla="*/ 81 w 330"/>
                    <a:gd name="T23" fmla="*/ 29 h 528"/>
                    <a:gd name="T24" fmla="*/ 121 w 330"/>
                    <a:gd name="T25" fmla="*/ 23 h 528"/>
                    <a:gd name="T26" fmla="*/ 139 w 330"/>
                    <a:gd name="T27" fmla="*/ 0 h 528"/>
                    <a:gd name="T28" fmla="*/ 179 w 330"/>
                    <a:gd name="T29" fmla="*/ 17 h 528"/>
                    <a:gd name="T30" fmla="*/ 238 w 330"/>
                    <a:gd name="T31" fmla="*/ 168 h 528"/>
                    <a:gd name="T32" fmla="*/ 267 w 330"/>
                    <a:gd name="T33" fmla="*/ 168 h 528"/>
                    <a:gd name="T34" fmla="*/ 290 w 330"/>
                    <a:gd name="T35" fmla="*/ 220 h 528"/>
                    <a:gd name="T36" fmla="*/ 290 w 330"/>
                    <a:gd name="T37" fmla="*/ 208 h 528"/>
                    <a:gd name="T38" fmla="*/ 325 w 330"/>
                    <a:gd name="T39" fmla="*/ 232 h 528"/>
                    <a:gd name="T40" fmla="*/ 319 w 330"/>
                    <a:gd name="T41" fmla="*/ 272 h 528"/>
                    <a:gd name="T42" fmla="*/ 319 w 330"/>
                    <a:gd name="T43" fmla="*/ 272 h 528"/>
                    <a:gd name="T44" fmla="*/ 307 w 330"/>
                    <a:gd name="T45" fmla="*/ 272 h 528"/>
                    <a:gd name="T46" fmla="*/ 301 w 330"/>
                    <a:gd name="T47" fmla="*/ 284 h 528"/>
                    <a:gd name="T48" fmla="*/ 296 w 330"/>
                    <a:gd name="T49" fmla="*/ 301 h 528"/>
                    <a:gd name="T50" fmla="*/ 278 w 330"/>
                    <a:gd name="T51" fmla="*/ 295 h 528"/>
                    <a:gd name="T52" fmla="*/ 272 w 330"/>
                    <a:gd name="T53" fmla="*/ 313 h 528"/>
                    <a:gd name="T54" fmla="*/ 267 w 330"/>
                    <a:gd name="T55" fmla="*/ 324 h 528"/>
                    <a:gd name="T56" fmla="*/ 243 w 330"/>
                    <a:gd name="T57" fmla="*/ 342 h 528"/>
                    <a:gd name="T58" fmla="*/ 232 w 330"/>
                    <a:gd name="T59" fmla="*/ 336 h 528"/>
                    <a:gd name="T60" fmla="*/ 209 w 330"/>
                    <a:gd name="T61" fmla="*/ 342 h 528"/>
                    <a:gd name="T62" fmla="*/ 197 w 330"/>
                    <a:gd name="T63" fmla="*/ 330 h 528"/>
                    <a:gd name="T64" fmla="*/ 191 w 330"/>
                    <a:gd name="T65" fmla="*/ 359 h 528"/>
                    <a:gd name="T66" fmla="*/ 197 w 330"/>
                    <a:gd name="T67" fmla="*/ 382 h 528"/>
                    <a:gd name="T68" fmla="*/ 174 w 330"/>
                    <a:gd name="T69" fmla="*/ 406 h 528"/>
                    <a:gd name="T70" fmla="*/ 162 w 330"/>
                    <a:gd name="T71" fmla="*/ 417 h 528"/>
                    <a:gd name="T72" fmla="*/ 150 w 330"/>
                    <a:gd name="T73" fmla="*/ 429 h 528"/>
                    <a:gd name="T74" fmla="*/ 139 w 330"/>
                    <a:gd name="T75" fmla="*/ 435 h 528"/>
                    <a:gd name="T76" fmla="*/ 133 w 330"/>
                    <a:gd name="T77" fmla="*/ 440 h 528"/>
                    <a:gd name="T78" fmla="*/ 121 w 330"/>
                    <a:gd name="T79" fmla="*/ 452 h 528"/>
                    <a:gd name="T80" fmla="*/ 121 w 330"/>
                    <a:gd name="T81" fmla="*/ 464 h 528"/>
                    <a:gd name="T82" fmla="*/ 110 w 330"/>
                    <a:gd name="T83" fmla="*/ 469 h 528"/>
                    <a:gd name="T84" fmla="*/ 116 w 330"/>
                    <a:gd name="T85" fmla="*/ 475 h 528"/>
                    <a:gd name="T86" fmla="*/ 104 w 330"/>
                    <a:gd name="T87" fmla="*/ 510 h 528"/>
                    <a:gd name="T88" fmla="*/ 92 w 330"/>
                    <a:gd name="T89" fmla="*/ 528 h 528"/>
                    <a:gd name="T90" fmla="*/ 81 w 330"/>
                    <a:gd name="T91" fmla="*/ 510 h 528"/>
                    <a:gd name="T92" fmla="*/ 63 w 330"/>
                    <a:gd name="T93" fmla="*/ 481 h 528"/>
                    <a:gd name="T94" fmla="*/ 52 w 330"/>
                    <a:gd name="T95" fmla="*/ 452 h 52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30"/>
                    <a:gd name="T145" fmla="*/ 0 h 528"/>
                    <a:gd name="T146" fmla="*/ 330 w 330"/>
                    <a:gd name="T147" fmla="*/ 528 h 52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30" h="528">
                      <a:moveTo>
                        <a:pt x="52" y="452"/>
                      </a:moveTo>
                      <a:lnTo>
                        <a:pt x="46" y="429"/>
                      </a:lnTo>
                      <a:lnTo>
                        <a:pt x="34" y="406"/>
                      </a:lnTo>
                      <a:lnTo>
                        <a:pt x="34" y="400"/>
                      </a:lnTo>
                      <a:lnTo>
                        <a:pt x="17" y="348"/>
                      </a:lnTo>
                      <a:lnTo>
                        <a:pt x="0" y="301"/>
                      </a:lnTo>
                      <a:lnTo>
                        <a:pt x="0" y="295"/>
                      </a:lnTo>
                      <a:lnTo>
                        <a:pt x="0" y="284"/>
                      </a:lnTo>
                      <a:lnTo>
                        <a:pt x="17" y="295"/>
                      </a:lnTo>
                      <a:lnTo>
                        <a:pt x="17" y="290"/>
                      </a:lnTo>
                      <a:lnTo>
                        <a:pt x="17" y="272"/>
                      </a:lnTo>
                      <a:lnTo>
                        <a:pt x="29" y="272"/>
                      </a:lnTo>
                      <a:lnTo>
                        <a:pt x="23" y="249"/>
                      </a:lnTo>
                      <a:lnTo>
                        <a:pt x="29" y="237"/>
                      </a:lnTo>
                      <a:lnTo>
                        <a:pt x="34" y="226"/>
                      </a:lnTo>
                      <a:lnTo>
                        <a:pt x="40" y="203"/>
                      </a:lnTo>
                      <a:lnTo>
                        <a:pt x="34" y="197"/>
                      </a:lnTo>
                      <a:lnTo>
                        <a:pt x="34" y="179"/>
                      </a:lnTo>
                      <a:lnTo>
                        <a:pt x="29" y="168"/>
                      </a:lnTo>
                      <a:lnTo>
                        <a:pt x="40" y="145"/>
                      </a:lnTo>
                      <a:lnTo>
                        <a:pt x="34" y="127"/>
                      </a:lnTo>
                      <a:lnTo>
                        <a:pt x="34" y="116"/>
                      </a:lnTo>
                      <a:lnTo>
                        <a:pt x="63" y="11"/>
                      </a:lnTo>
                      <a:lnTo>
                        <a:pt x="81" y="29"/>
                      </a:lnTo>
                      <a:lnTo>
                        <a:pt x="92" y="34"/>
                      </a:lnTo>
                      <a:lnTo>
                        <a:pt x="121" y="23"/>
                      </a:lnTo>
                      <a:lnTo>
                        <a:pt x="133" y="0"/>
                      </a:lnTo>
                      <a:lnTo>
                        <a:pt x="139" y="0"/>
                      </a:lnTo>
                      <a:lnTo>
                        <a:pt x="168" y="11"/>
                      </a:lnTo>
                      <a:lnTo>
                        <a:pt x="179" y="17"/>
                      </a:lnTo>
                      <a:lnTo>
                        <a:pt x="185" y="17"/>
                      </a:lnTo>
                      <a:lnTo>
                        <a:pt x="238" y="168"/>
                      </a:lnTo>
                      <a:lnTo>
                        <a:pt x="261" y="174"/>
                      </a:lnTo>
                      <a:lnTo>
                        <a:pt x="267" y="168"/>
                      </a:lnTo>
                      <a:lnTo>
                        <a:pt x="278" y="208"/>
                      </a:lnTo>
                      <a:lnTo>
                        <a:pt x="290" y="220"/>
                      </a:lnTo>
                      <a:lnTo>
                        <a:pt x="290" y="214"/>
                      </a:lnTo>
                      <a:lnTo>
                        <a:pt x="290" y="208"/>
                      </a:lnTo>
                      <a:lnTo>
                        <a:pt x="307" y="214"/>
                      </a:lnTo>
                      <a:lnTo>
                        <a:pt x="325" y="232"/>
                      </a:lnTo>
                      <a:lnTo>
                        <a:pt x="330" y="243"/>
                      </a:lnTo>
                      <a:lnTo>
                        <a:pt x="319" y="272"/>
                      </a:lnTo>
                      <a:lnTo>
                        <a:pt x="313" y="272"/>
                      </a:lnTo>
                      <a:lnTo>
                        <a:pt x="319" y="272"/>
                      </a:lnTo>
                      <a:lnTo>
                        <a:pt x="313" y="272"/>
                      </a:lnTo>
                      <a:lnTo>
                        <a:pt x="307" y="272"/>
                      </a:lnTo>
                      <a:lnTo>
                        <a:pt x="307" y="278"/>
                      </a:lnTo>
                      <a:lnTo>
                        <a:pt x="301" y="284"/>
                      </a:lnTo>
                      <a:lnTo>
                        <a:pt x="301" y="290"/>
                      </a:lnTo>
                      <a:lnTo>
                        <a:pt x="296" y="301"/>
                      </a:lnTo>
                      <a:lnTo>
                        <a:pt x="296" y="295"/>
                      </a:lnTo>
                      <a:lnTo>
                        <a:pt x="278" y="295"/>
                      </a:lnTo>
                      <a:lnTo>
                        <a:pt x="278" y="313"/>
                      </a:lnTo>
                      <a:lnTo>
                        <a:pt x="272" y="313"/>
                      </a:lnTo>
                      <a:lnTo>
                        <a:pt x="267" y="313"/>
                      </a:lnTo>
                      <a:lnTo>
                        <a:pt x="267" y="324"/>
                      </a:lnTo>
                      <a:lnTo>
                        <a:pt x="255" y="336"/>
                      </a:lnTo>
                      <a:lnTo>
                        <a:pt x="243" y="342"/>
                      </a:lnTo>
                      <a:lnTo>
                        <a:pt x="226" y="324"/>
                      </a:lnTo>
                      <a:lnTo>
                        <a:pt x="232" y="336"/>
                      </a:lnTo>
                      <a:lnTo>
                        <a:pt x="220" y="365"/>
                      </a:lnTo>
                      <a:lnTo>
                        <a:pt x="209" y="342"/>
                      </a:lnTo>
                      <a:lnTo>
                        <a:pt x="203" y="324"/>
                      </a:lnTo>
                      <a:lnTo>
                        <a:pt x="197" y="330"/>
                      </a:lnTo>
                      <a:lnTo>
                        <a:pt x="191" y="342"/>
                      </a:lnTo>
                      <a:lnTo>
                        <a:pt x="191" y="359"/>
                      </a:lnTo>
                      <a:lnTo>
                        <a:pt x="191" y="371"/>
                      </a:lnTo>
                      <a:lnTo>
                        <a:pt x="197" y="382"/>
                      </a:lnTo>
                      <a:lnTo>
                        <a:pt x="179" y="406"/>
                      </a:lnTo>
                      <a:lnTo>
                        <a:pt x="174" y="406"/>
                      </a:lnTo>
                      <a:lnTo>
                        <a:pt x="168" y="411"/>
                      </a:lnTo>
                      <a:lnTo>
                        <a:pt x="162" y="417"/>
                      </a:lnTo>
                      <a:lnTo>
                        <a:pt x="156" y="417"/>
                      </a:lnTo>
                      <a:lnTo>
                        <a:pt x="150" y="429"/>
                      </a:lnTo>
                      <a:lnTo>
                        <a:pt x="150" y="435"/>
                      </a:lnTo>
                      <a:lnTo>
                        <a:pt x="139" y="435"/>
                      </a:lnTo>
                      <a:lnTo>
                        <a:pt x="139" y="429"/>
                      </a:lnTo>
                      <a:lnTo>
                        <a:pt x="133" y="440"/>
                      </a:lnTo>
                      <a:lnTo>
                        <a:pt x="121" y="446"/>
                      </a:lnTo>
                      <a:lnTo>
                        <a:pt x="121" y="452"/>
                      </a:lnTo>
                      <a:lnTo>
                        <a:pt x="121" y="458"/>
                      </a:lnTo>
                      <a:lnTo>
                        <a:pt x="121" y="464"/>
                      </a:lnTo>
                      <a:lnTo>
                        <a:pt x="116" y="464"/>
                      </a:lnTo>
                      <a:lnTo>
                        <a:pt x="110" y="469"/>
                      </a:lnTo>
                      <a:lnTo>
                        <a:pt x="110" y="475"/>
                      </a:lnTo>
                      <a:lnTo>
                        <a:pt x="116" y="475"/>
                      </a:lnTo>
                      <a:lnTo>
                        <a:pt x="104" y="504"/>
                      </a:lnTo>
                      <a:lnTo>
                        <a:pt x="104" y="510"/>
                      </a:lnTo>
                      <a:lnTo>
                        <a:pt x="98" y="528"/>
                      </a:lnTo>
                      <a:lnTo>
                        <a:pt x="92" y="528"/>
                      </a:lnTo>
                      <a:lnTo>
                        <a:pt x="87" y="522"/>
                      </a:lnTo>
                      <a:lnTo>
                        <a:pt x="81" y="510"/>
                      </a:lnTo>
                      <a:lnTo>
                        <a:pt x="69" y="504"/>
                      </a:lnTo>
                      <a:lnTo>
                        <a:pt x="63" y="481"/>
                      </a:lnTo>
                      <a:lnTo>
                        <a:pt x="52" y="458"/>
                      </a:lnTo>
                      <a:lnTo>
                        <a:pt x="52" y="452"/>
                      </a:lnTo>
                      <a:close/>
                    </a:path>
                  </a:pathLst>
                </a:custGeom>
                <a:solidFill>
                  <a:srgbClr val="5B9BD5"/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3" name="Freeform 12"/>
                <p:cNvSpPr>
                  <a:spLocks/>
                </p:cNvSpPr>
                <p:nvPr/>
              </p:nvSpPr>
              <p:spPr bwMode="auto">
                <a:xfrm>
                  <a:off x="7389813" y="801473"/>
                  <a:ext cx="17463" cy="17458"/>
                </a:xfrm>
                <a:custGeom>
                  <a:avLst/>
                  <a:gdLst>
                    <a:gd name="T0" fmla="*/ 0 w 11"/>
                    <a:gd name="T1" fmla="*/ 11 h 11"/>
                    <a:gd name="T2" fmla="*/ 11 w 11"/>
                    <a:gd name="T3" fmla="*/ 5 h 11"/>
                    <a:gd name="T4" fmla="*/ 5 w 11"/>
                    <a:gd name="T5" fmla="*/ 0 h 11"/>
                    <a:gd name="T6" fmla="*/ 0 w 11"/>
                    <a:gd name="T7" fmla="*/ 5 h 11"/>
                    <a:gd name="T8" fmla="*/ 0 w 11"/>
                    <a:gd name="T9" fmla="*/ 11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1"/>
                    <a:gd name="T16" fmla="*/ 0 h 11"/>
                    <a:gd name="T17" fmla="*/ 11 w 11"/>
                    <a:gd name="T18" fmla="*/ 11 h 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1" h="11">
                      <a:moveTo>
                        <a:pt x="0" y="11"/>
                      </a:moveTo>
                      <a:lnTo>
                        <a:pt x="11" y="5"/>
                      </a:lnTo>
                      <a:lnTo>
                        <a:pt x="5" y="0"/>
                      </a:lnTo>
                      <a:lnTo>
                        <a:pt x="0" y="5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grpFill/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4" name="Freeform 13"/>
                <p:cNvSpPr>
                  <a:spLocks/>
                </p:cNvSpPr>
                <p:nvPr/>
              </p:nvSpPr>
              <p:spPr bwMode="auto">
                <a:xfrm>
                  <a:off x="7284740" y="602508"/>
                  <a:ext cx="239715" cy="496754"/>
                </a:xfrm>
                <a:custGeom>
                  <a:avLst/>
                  <a:gdLst>
                    <a:gd name="T0" fmla="*/ 6 w 151"/>
                    <a:gd name="T1" fmla="*/ 214 h 313"/>
                    <a:gd name="T2" fmla="*/ 6 w 151"/>
                    <a:gd name="T3" fmla="*/ 197 h 313"/>
                    <a:gd name="T4" fmla="*/ 12 w 151"/>
                    <a:gd name="T5" fmla="*/ 191 h 313"/>
                    <a:gd name="T6" fmla="*/ 12 w 151"/>
                    <a:gd name="T7" fmla="*/ 168 h 313"/>
                    <a:gd name="T8" fmla="*/ 12 w 151"/>
                    <a:gd name="T9" fmla="*/ 150 h 313"/>
                    <a:gd name="T10" fmla="*/ 6 w 151"/>
                    <a:gd name="T11" fmla="*/ 139 h 313"/>
                    <a:gd name="T12" fmla="*/ 12 w 151"/>
                    <a:gd name="T13" fmla="*/ 127 h 313"/>
                    <a:gd name="T14" fmla="*/ 24 w 151"/>
                    <a:gd name="T15" fmla="*/ 121 h 313"/>
                    <a:gd name="T16" fmla="*/ 24 w 151"/>
                    <a:gd name="T17" fmla="*/ 116 h 313"/>
                    <a:gd name="T18" fmla="*/ 35 w 151"/>
                    <a:gd name="T19" fmla="*/ 98 h 313"/>
                    <a:gd name="T20" fmla="*/ 24 w 151"/>
                    <a:gd name="T21" fmla="*/ 75 h 313"/>
                    <a:gd name="T22" fmla="*/ 29 w 151"/>
                    <a:gd name="T23" fmla="*/ 52 h 313"/>
                    <a:gd name="T24" fmla="*/ 29 w 151"/>
                    <a:gd name="T25" fmla="*/ 40 h 313"/>
                    <a:gd name="T26" fmla="*/ 24 w 151"/>
                    <a:gd name="T27" fmla="*/ 17 h 313"/>
                    <a:gd name="T28" fmla="*/ 41 w 151"/>
                    <a:gd name="T29" fmla="*/ 5 h 313"/>
                    <a:gd name="T30" fmla="*/ 41 w 151"/>
                    <a:gd name="T31" fmla="*/ 11 h 313"/>
                    <a:gd name="T32" fmla="*/ 47 w 151"/>
                    <a:gd name="T33" fmla="*/ 5 h 313"/>
                    <a:gd name="T34" fmla="*/ 47 w 151"/>
                    <a:gd name="T35" fmla="*/ 0 h 313"/>
                    <a:gd name="T36" fmla="*/ 53 w 151"/>
                    <a:gd name="T37" fmla="*/ 5 h 313"/>
                    <a:gd name="T38" fmla="*/ 53 w 151"/>
                    <a:gd name="T39" fmla="*/ 11 h 313"/>
                    <a:gd name="T40" fmla="*/ 70 w 151"/>
                    <a:gd name="T41" fmla="*/ 58 h 313"/>
                    <a:gd name="T42" fmla="*/ 87 w 151"/>
                    <a:gd name="T43" fmla="*/ 110 h 313"/>
                    <a:gd name="T44" fmla="*/ 87 w 151"/>
                    <a:gd name="T45" fmla="*/ 116 h 313"/>
                    <a:gd name="T46" fmla="*/ 99 w 151"/>
                    <a:gd name="T47" fmla="*/ 139 h 313"/>
                    <a:gd name="T48" fmla="*/ 105 w 151"/>
                    <a:gd name="T49" fmla="*/ 162 h 313"/>
                    <a:gd name="T50" fmla="*/ 105 w 151"/>
                    <a:gd name="T51" fmla="*/ 168 h 313"/>
                    <a:gd name="T52" fmla="*/ 116 w 151"/>
                    <a:gd name="T53" fmla="*/ 191 h 313"/>
                    <a:gd name="T54" fmla="*/ 122 w 151"/>
                    <a:gd name="T55" fmla="*/ 214 h 313"/>
                    <a:gd name="T56" fmla="*/ 134 w 151"/>
                    <a:gd name="T57" fmla="*/ 220 h 313"/>
                    <a:gd name="T58" fmla="*/ 140 w 151"/>
                    <a:gd name="T59" fmla="*/ 232 h 313"/>
                    <a:gd name="T60" fmla="*/ 145 w 151"/>
                    <a:gd name="T61" fmla="*/ 238 h 313"/>
                    <a:gd name="T62" fmla="*/ 151 w 151"/>
                    <a:gd name="T63" fmla="*/ 238 h 313"/>
                    <a:gd name="T64" fmla="*/ 151 w 151"/>
                    <a:gd name="T65" fmla="*/ 255 h 313"/>
                    <a:gd name="T66" fmla="*/ 151 w 151"/>
                    <a:gd name="T67" fmla="*/ 261 h 313"/>
                    <a:gd name="T68" fmla="*/ 134 w 151"/>
                    <a:gd name="T69" fmla="*/ 267 h 313"/>
                    <a:gd name="T70" fmla="*/ 134 w 151"/>
                    <a:gd name="T71" fmla="*/ 272 h 313"/>
                    <a:gd name="T72" fmla="*/ 116 w 151"/>
                    <a:gd name="T73" fmla="*/ 284 h 313"/>
                    <a:gd name="T74" fmla="*/ 116 w 151"/>
                    <a:gd name="T75" fmla="*/ 290 h 313"/>
                    <a:gd name="T76" fmla="*/ 70 w 151"/>
                    <a:gd name="T77" fmla="*/ 301 h 313"/>
                    <a:gd name="T78" fmla="*/ 64 w 151"/>
                    <a:gd name="T79" fmla="*/ 301 h 313"/>
                    <a:gd name="T80" fmla="*/ 64 w 151"/>
                    <a:gd name="T81" fmla="*/ 307 h 313"/>
                    <a:gd name="T82" fmla="*/ 53 w 151"/>
                    <a:gd name="T83" fmla="*/ 307 h 313"/>
                    <a:gd name="T84" fmla="*/ 35 w 151"/>
                    <a:gd name="T85" fmla="*/ 313 h 313"/>
                    <a:gd name="T86" fmla="*/ 29 w 151"/>
                    <a:gd name="T87" fmla="*/ 313 h 313"/>
                    <a:gd name="T88" fmla="*/ 24 w 151"/>
                    <a:gd name="T89" fmla="*/ 313 h 313"/>
                    <a:gd name="T90" fmla="*/ 6 w 151"/>
                    <a:gd name="T91" fmla="*/ 290 h 313"/>
                    <a:gd name="T92" fmla="*/ 12 w 151"/>
                    <a:gd name="T93" fmla="*/ 284 h 313"/>
                    <a:gd name="T94" fmla="*/ 12 w 151"/>
                    <a:gd name="T95" fmla="*/ 267 h 313"/>
                    <a:gd name="T96" fmla="*/ 6 w 151"/>
                    <a:gd name="T97" fmla="*/ 261 h 313"/>
                    <a:gd name="T98" fmla="*/ 6 w 151"/>
                    <a:gd name="T99" fmla="*/ 226 h 313"/>
                    <a:gd name="T100" fmla="*/ 0 w 151"/>
                    <a:gd name="T101" fmla="*/ 220 h 313"/>
                    <a:gd name="T102" fmla="*/ 6 w 151"/>
                    <a:gd name="T103" fmla="*/ 214 h 313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51"/>
                    <a:gd name="T157" fmla="*/ 0 h 313"/>
                    <a:gd name="T158" fmla="*/ 151 w 151"/>
                    <a:gd name="T159" fmla="*/ 313 h 313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51" h="313">
                      <a:moveTo>
                        <a:pt x="6" y="214"/>
                      </a:moveTo>
                      <a:lnTo>
                        <a:pt x="6" y="197"/>
                      </a:lnTo>
                      <a:lnTo>
                        <a:pt x="12" y="191"/>
                      </a:lnTo>
                      <a:lnTo>
                        <a:pt x="12" y="168"/>
                      </a:lnTo>
                      <a:lnTo>
                        <a:pt x="12" y="150"/>
                      </a:lnTo>
                      <a:lnTo>
                        <a:pt x="6" y="139"/>
                      </a:lnTo>
                      <a:lnTo>
                        <a:pt x="12" y="127"/>
                      </a:lnTo>
                      <a:lnTo>
                        <a:pt x="24" y="121"/>
                      </a:lnTo>
                      <a:lnTo>
                        <a:pt x="24" y="116"/>
                      </a:lnTo>
                      <a:lnTo>
                        <a:pt x="35" y="98"/>
                      </a:lnTo>
                      <a:lnTo>
                        <a:pt x="24" y="75"/>
                      </a:lnTo>
                      <a:lnTo>
                        <a:pt x="29" y="52"/>
                      </a:lnTo>
                      <a:lnTo>
                        <a:pt x="29" y="40"/>
                      </a:lnTo>
                      <a:lnTo>
                        <a:pt x="24" y="17"/>
                      </a:lnTo>
                      <a:lnTo>
                        <a:pt x="41" y="5"/>
                      </a:lnTo>
                      <a:lnTo>
                        <a:pt x="41" y="11"/>
                      </a:lnTo>
                      <a:lnTo>
                        <a:pt x="47" y="5"/>
                      </a:lnTo>
                      <a:lnTo>
                        <a:pt x="47" y="0"/>
                      </a:lnTo>
                      <a:lnTo>
                        <a:pt x="53" y="5"/>
                      </a:lnTo>
                      <a:lnTo>
                        <a:pt x="53" y="11"/>
                      </a:lnTo>
                      <a:lnTo>
                        <a:pt x="70" y="58"/>
                      </a:lnTo>
                      <a:lnTo>
                        <a:pt x="87" y="110"/>
                      </a:lnTo>
                      <a:lnTo>
                        <a:pt x="87" y="116"/>
                      </a:lnTo>
                      <a:lnTo>
                        <a:pt x="99" y="139"/>
                      </a:lnTo>
                      <a:lnTo>
                        <a:pt x="105" y="162"/>
                      </a:lnTo>
                      <a:lnTo>
                        <a:pt x="105" y="168"/>
                      </a:lnTo>
                      <a:lnTo>
                        <a:pt x="116" y="191"/>
                      </a:lnTo>
                      <a:lnTo>
                        <a:pt x="122" y="214"/>
                      </a:lnTo>
                      <a:lnTo>
                        <a:pt x="134" y="220"/>
                      </a:lnTo>
                      <a:lnTo>
                        <a:pt x="140" y="232"/>
                      </a:lnTo>
                      <a:lnTo>
                        <a:pt x="145" y="238"/>
                      </a:lnTo>
                      <a:lnTo>
                        <a:pt x="151" y="238"/>
                      </a:lnTo>
                      <a:lnTo>
                        <a:pt x="151" y="255"/>
                      </a:lnTo>
                      <a:lnTo>
                        <a:pt x="151" y="261"/>
                      </a:lnTo>
                      <a:lnTo>
                        <a:pt x="134" y="267"/>
                      </a:lnTo>
                      <a:lnTo>
                        <a:pt x="134" y="272"/>
                      </a:lnTo>
                      <a:lnTo>
                        <a:pt x="116" y="284"/>
                      </a:lnTo>
                      <a:lnTo>
                        <a:pt x="116" y="290"/>
                      </a:lnTo>
                      <a:lnTo>
                        <a:pt x="70" y="301"/>
                      </a:lnTo>
                      <a:lnTo>
                        <a:pt x="64" y="301"/>
                      </a:lnTo>
                      <a:lnTo>
                        <a:pt x="64" y="307"/>
                      </a:lnTo>
                      <a:lnTo>
                        <a:pt x="53" y="307"/>
                      </a:lnTo>
                      <a:lnTo>
                        <a:pt x="35" y="313"/>
                      </a:lnTo>
                      <a:lnTo>
                        <a:pt x="29" y="313"/>
                      </a:lnTo>
                      <a:lnTo>
                        <a:pt x="24" y="313"/>
                      </a:lnTo>
                      <a:lnTo>
                        <a:pt x="6" y="290"/>
                      </a:lnTo>
                      <a:lnTo>
                        <a:pt x="12" y="284"/>
                      </a:lnTo>
                      <a:lnTo>
                        <a:pt x="12" y="267"/>
                      </a:lnTo>
                      <a:lnTo>
                        <a:pt x="6" y="261"/>
                      </a:lnTo>
                      <a:lnTo>
                        <a:pt x="6" y="226"/>
                      </a:lnTo>
                      <a:lnTo>
                        <a:pt x="0" y="220"/>
                      </a:lnTo>
                      <a:lnTo>
                        <a:pt x="6" y="214"/>
                      </a:lnTo>
                      <a:close/>
                    </a:path>
                  </a:pathLst>
                </a:custGeom>
                <a:solidFill>
                  <a:srgbClr val="5B9BD5"/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5" name="Freeform 14"/>
                <p:cNvSpPr>
                  <a:spLocks/>
                </p:cNvSpPr>
                <p:nvPr/>
              </p:nvSpPr>
              <p:spPr bwMode="auto">
                <a:xfrm>
                  <a:off x="6888708" y="1411917"/>
                  <a:ext cx="193675" cy="442794"/>
                </a:xfrm>
                <a:custGeom>
                  <a:avLst/>
                  <a:gdLst>
                    <a:gd name="T0" fmla="*/ 117 w 122"/>
                    <a:gd name="T1" fmla="*/ 197 h 279"/>
                    <a:gd name="T2" fmla="*/ 122 w 122"/>
                    <a:gd name="T3" fmla="*/ 128 h 279"/>
                    <a:gd name="T4" fmla="*/ 111 w 122"/>
                    <a:gd name="T5" fmla="*/ 87 h 279"/>
                    <a:gd name="T6" fmla="*/ 99 w 122"/>
                    <a:gd name="T7" fmla="*/ 93 h 279"/>
                    <a:gd name="T8" fmla="*/ 87 w 122"/>
                    <a:gd name="T9" fmla="*/ 87 h 279"/>
                    <a:gd name="T10" fmla="*/ 93 w 122"/>
                    <a:gd name="T11" fmla="*/ 76 h 279"/>
                    <a:gd name="T12" fmla="*/ 93 w 122"/>
                    <a:gd name="T13" fmla="*/ 70 h 279"/>
                    <a:gd name="T14" fmla="*/ 105 w 122"/>
                    <a:gd name="T15" fmla="*/ 64 h 279"/>
                    <a:gd name="T16" fmla="*/ 105 w 122"/>
                    <a:gd name="T17" fmla="*/ 52 h 279"/>
                    <a:gd name="T18" fmla="*/ 105 w 122"/>
                    <a:gd name="T19" fmla="*/ 35 h 279"/>
                    <a:gd name="T20" fmla="*/ 105 w 122"/>
                    <a:gd name="T21" fmla="*/ 23 h 279"/>
                    <a:gd name="T22" fmla="*/ 76 w 122"/>
                    <a:gd name="T23" fmla="*/ 18 h 279"/>
                    <a:gd name="T24" fmla="*/ 64 w 122"/>
                    <a:gd name="T25" fmla="*/ 12 h 279"/>
                    <a:gd name="T26" fmla="*/ 53 w 122"/>
                    <a:gd name="T27" fmla="*/ 12 h 279"/>
                    <a:gd name="T28" fmla="*/ 29 w 122"/>
                    <a:gd name="T29" fmla="*/ 0 h 279"/>
                    <a:gd name="T30" fmla="*/ 18 w 122"/>
                    <a:gd name="T31" fmla="*/ 18 h 279"/>
                    <a:gd name="T32" fmla="*/ 12 w 122"/>
                    <a:gd name="T33" fmla="*/ 41 h 279"/>
                    <a:gd name="T34" fmla="*/ 12 w 122"/>
                    <a:gd name="T35" fmla="*/ 41 h 279"/>
                    <a:gd name="T36" fmla="*/ 6 w 122"/>
                    <a:gd name="T37" fmla="*/ 52 h 279"/>
                    <a:gd name="T38" fmla="*/ 0 w 122"/>
                    <a:gd name="T39" fmla="*/ 81 h 279"/>
                    <a:gd name="T40" fmla="*/ 12 w 122"/>
                    <a:gd name="T41" fmla="*/ 99 h 279"/>
                    <a:gd name="T42" fmla="*/ 35 w 122"/>
                    <a:gd name="T43" fmla="*/ 122 h 279"/>
                    <a:gd name="T44" fmla="*/ 47 w 122"/>
                    <a:gd name="T45" fmla="*/ 128 h 279"/>
                    <a:gd name="T46" fmla="*/ 53 w 122"/>
                    <a:gd name="T47" fmla="*/ 139 h 279"/>
                    <a:gd name="T48" fmla="*/ 41 w 122"/>
                    <a:gd name="T49" fmla="*/ 151 h 279"/>
                    <a:gd name="T50" fmla="*/ 35 w 122"/>
                    <a:gd name="T51" fmla="*/ 163 h 279"/>
                    <a:gd name="T52" fmla="*/ 29 w 122"/>
                    <a:gd name="T53" fmla="*/ 174 h 279"/>
                    <a:gd name="T54" fmla="*/ 24 w 122"/>
                    <a:gd name="T55" fmla="*/ 180 h 279"/>
                    <a:gd name="T56" fmla="*/ 12 w 122"/>
                    <a:gd name="T57" fmla="*/ 192 h 279"/>
                    <a:gd name="T58" fmla="*/ 6 w 122"/>
                    <a:gd name="T59" fmla="*/ 203 h 279"/>
                    <a:gd name="T60" fmla="*/ 6 w 122"/>
                    <a:gd name="T61" fmla="*/ 215 h 279"/>
                    <a:gd name="T62" fmla="*/ 24 w 122"/>
                    <a:gd name="T63" fmla="*/ 238 h 279"/>
                    <a:gd name="T64" fmla="*/ 53 w 122"/>
                    <a:gd name="T65" fmla="*/ 250 h 279"/>
                    <a:gd name="T66" fmla="*/ 70 w 122"/>
                    <a:gd name="T67" fmla="*/ 279 h 279"/>
                    <a:gd name="T68" fmla="*/ 87 w 122"/>
                    <a:gd name="T69" fmla="*/ 267 h 279"/>
                    <a:gd name="T70" fmla="*/ 111 w 122"/>
                    <a:gd name="T71" fmla="*/ 203 h 279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122"/>
                    <a:gd name="T109" fmla="*/ 0 h 279"/>
                    <a:gd name="T110" fmla="*/ 122 w 122"/>
                    <a:gd name="T111" fmla="*/ 279 h 279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122" h="279">
                      <a:moveTo>
                        <a:pt x="111" y="197"/>
                      </a:moveTo>
                      <a:lnTo>
                        <a:pt x="117" y="197"/>
                      </a:lnTo>
                      <a:lnTo>
                        <a:pt x="122" y="168"/>
                      </a:lnTo>
                      <a:lnTo>
                        <a:pt x="122" y="128"/>
                      </a:lnTo>
                      <a:lnTo>
                        <a:pt x="117" y="99"/>
                      </a:lnTo>
                      <a:lnTo>
                        <a:pt x="111" y="87"/>
                      </a:lnTo>
                      <a:lnTo>
                        <a:pt x="111" y="93"/>
                      </a:lnTo>
                      <a:lnTo>
                        <a:pt x="99" y="93"/>
                      </a:lnTo>
                      <a:lnTo>
                        <a:pt x="93" y="93"/>
                      </a:lnTo>
                      <a:lnTo>
                        <a:pt x="87" y="87"/>
                      </a:lnTo>
                      <a:lnTo>
                        <a:pt x="87" y="81"/>
                      </a:lnTo>
                      <a:lnTo>
                        <a:pt x="93" y="76"/>
                      </a:lnTo>
                      <a:lnTo>
                        <a:pt x="87" y="76"/>
                      </a:lnTo>
                      <a:lnTo>
                        <a:pt x="93" y="70"/>
                      </a:lnTo>
                      <a:lnTo>
                        <a:pt x="99" y="70"/>
                      </a:lnTo>
                      <a:lnTo>
                        <a:pt x="105" y="64"/>
                      </a:lnTo>
                      <a:lnTo>
                        <a:pt x="105" y="58"/>
                      </a:lnTo>
                      <a:lnTo>
                        <a:pt x="105" y="52"/>
                      </a:lnTo>
                      <a:lnTo>
                        <a:pt x="105" y="41"/>
                      </a:lnTo>
                      <a:lnTo>
                        <a:pt x="105" y="35"/>
                      </a:lnTo>
                      <a:lnTo>
                        <a:pt x="105" y="29"/>
                      </a:lnTo>
                      <a:lnTo>
                        <a:pt x="105" y="23"/>
                      </a:lnTo>
                      <a:lnTo>
                        <a:pt x="82" y="18"/>
                      </a:lnTo>
                      <a:lnTo>
                        <a:pt x="76" y="18"/>
                      </a:lnTo>
                      <a:lnTo>
                        <a:pt x="70" y="18"/>
                      </a:lnTo>
                      <a:lnTo>
                        <a:pt x="64" y="12"/>
                      </a:lnTo>
                      <a:lnTo>
                        <a:pt x="58" y="12"/>
                      </a:lnTo>
                      <a:lnTo>
                        <a:pt x="53" y="12"/>
                      </a:lnTo>
                      <a:lnTo>
                        <a:pt x="41" y="6"/>
                      </a:lnTo>
                      <a:lnTo>
                        <a:pt x="29" y="0"/>
                      </a:lnTo>
                      <a:lnTo>
                        <a:pt x="24" y="6"/>
                      </a:lnTo>
                      <a:lnTo>
                        <a:pt x="18" y="18"/>
                      </a:lnTo>
                      <a:lnTo>
                        <a:pt x="18" y="29"/>
                      </a:lnTo>
                      <a:lnTo>
                        <a:pt x="12" y="41"/>
                      </a:lnTo>
                      <a:lnTo>
                        <a:pt x="12" y="35"/>
                      </a:lnTo>
                      <a:lnTo>
                        <a:pt x="12" y="41"/>
                      </a:lnTo>
                      <a:lnTo>
                        <a:pt x="0" y="52"/>
                      </a:lnTo>
                      <a:lnTo>
                        <a:pt x="6" y="52"/>
                      </a:lnTo>
                      <a:lnTo>
                        <a:pt x="12" y="64"/>
                      </a:lnTo>
                      <a:lnTo>
                        <a:pt x="0" y="81"/>
                      </a:lnTo>
                      <a:lnTo>
                        <a:pt x="6" y="99"/>
                      </a:lnTo>
                      <a:lnTo>
                        <a:pt x="12" y="99"/>
                      </a:lnTo>
                      <a:lnTo>
                        <a:pt x="35" y="116"/>
                      </a:lnTo>
                      <a:lnTo>
                        <a:pt x="35" y="122"/>
                      </a:lnTo>
                      <a:lnTo>
                        <a:pt x="41" y="122"/>
                      </a:lnTo>
                      <a:lnTo>
                        <a:pt x="47" y="128"/>
                      </a:lnTo>
                      <a:lnTo>
                        <a:pt x="58" y="139"/>
                      </a:lnTo>
                      <a:lnTo>
                        <a:pt x="53" y="139"/>
                      </a:lnTo>
                      <a:lnTo>
                        <a:pt x="47" y="145"/>
                      </a:lnTo>
                      <a:lnTo>
                        <a:pt x="41" y="151"/>
                      </a:lnTo>
                      <a:lnTo>
                        <a:pt x="41" y="157"/>
                      </a:lnTo>
                      <a:lnTo>
                        <a:pt x="35" y="163"/>
                      </a:lnTo>
                      <a:lnTo>
                        <a:pt x="29" y="168"/>
                      </a:lnTo>
                      <a:lnTo>
                        <a:pt x="29" y="174"/>
                      </a:lnTo>
                      <a:lnTo>
                        <a:pt x="29" y="180"/>
                      </a:lnTo>
                      <a:lnTo>
                        <a:pt x="24" y="180"/>
                      </a:lnTo>
                      <a:lnTo>
                        <a:pt x="12" y="186"/>
                      </a:lnTo>
                      <a:lnTo>
                        <a:pt x="12" y="192"/>
                      </a:lnTo>
                      <a:lnTo>
                        <a:pt x="6" y="192"/>
                      </a:lnTo>
                      <a:lnTo>
                        <a:pt x="6" y="203"/>
                      </a:lnTo>
                      <a:lnTo>
                        <a:pt x="0" y="209"/>
                      </a:lnTo>
                      <a:lnTo>
                        <a:pt x="6" y="215"/>
                      </a:lnTo>
                      <a:lnTo>
                        <a:pt x="6" y="226"/>
                      </a:lnTo>
                      <a:lnTo>
                        <a:pt x="24" y="238"/>
                      </a:lnTo>
                      <a:lnTo>
                        <a:pt x="35" y="244"/>
                      </a:lnTo>
                      <a:lnTo>
                        <a:pt x="53" y="250"/>
                      </a:lnTo>
                      <a:lnTo>
                        <a:pt x="70" y="250"/>
                      </a:lnTo>
                      <a:lnTo>
                        <a:pt x="70" y="279"/>
                      </a:lnTo>
                      <a:lnTo>
                        <a:pt x="82" y="273"/>
                      </a:lnTo>
                      <a:lnTo>
                        <a:pt x="87" y="267"/>
                      </a:lnTo>
                      <a:lnTo>
                        <a:pt x="99" y="226"/>
                      </a:lnTo>
                      <a:lnTo>
                        <a:pt x="111" y="203"/>
                      </a:lnTo>
                      <a:lnTo>
                        <a:pt x="111" y="197"/>
                      </a:lnTo>
                      <a:close/>
                    </a:path>
                  </a:pathLst>
                </a:custGeom>
                <a:solidFill>
                  <a:srgbClr val="5B9BD5"/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6" name="Freeform 15"/>
                <p:cNvSpPr>
                  <a:spLocks/>
                </p:cNvSpPr>
                <p:nvPr/>
              </p:nvSpPr>
              <p:spPr bwMode="auto">
                <a:xfrm>
                  <a:off x="6383040" y="731063"/>
                  <a:ext cx="1085849" cy="818931"/>
                </a:xfrm>
                <a:custGeom>
                  <a:avLst/>
                  <a:gdLst>
                    <a:gd name="T0" fmla="*/ 493 w 684"/>
                    <a:gd name="T1" fmla="*/ 447 h 516"/>
                    <a:gd name="T2" fmla="*/ 475 w 684"/>
                    <a:gd name="T3" fmla="*/ 441 h 516"/>
                    <a:gd name="T4" fmla="*/ 446 w 684"/>
                    <a:gd name="T5" fmla="*/ 429 h 516"/>
                    <a:gd name="T6" fmla="*/ 417 w 684"/>
                    <a:gd name="T7" fmla="*/ 423 h 516"/>
                    <a:gd name="T8" fmla="*/ 406 w 684"/>
                    <a:gd name="T9" fmla="*/ 394 h 516"/>
                    <a:gd name="T10" fmla="*/ 388 w 684"/>
                    <a:gd name="T11" fmla="*/ 389 h 516"/>
                    <a:gd name="T12" fmla="*/ 336 w 684"/>
                    <a:gd name="T13" fmla="*/ 383 h 516"/>
                    <a:gd name="T14" fmla="*/ 307 w 684"/>
                    <a:gd name="T15" fmla="*/ 389 h 516"/>
                    <a:gd name="T16" fmla="*/ 272 w 684"/>
                    <a:gd name="T17" fmla="*/ 400 h 516"/>
                    <a:gd name="T18" fmla="*/ 243 w 684"/>
                    <a:gd name="T19" fmla="*/ 406 h 516"/>
                    <a:gd name="T20" fmla="*/ 197 w 684"/>
                    <a:gd name="T21" fmla="*/ 418 h 516"/>
                    <a:gd name="T22" fmla="*/ 174 w 684"/>
                    <a:gd name="T23" fmla="*/ 418 h 516"/>
                    <a:gd name="T24" fmla="*/ 139 w 684"/>
                    <a:gd name="T25" fmla="*/ 429 h 516"/>
                    <a:gd name="T26" fmla="*/ 104 w 684"/>
                    <a:gd name="T27" fmla="*/ 435 h 516"/>
                    <a:gd name="T28" fmla="*/ 69 w 684"/>
                    <a:gd name="T29" fmla="*/ 441 h 516"/>
                    <a:gd name="T30" fmla="*/ 34 w 684"/>
                    <a:gd name="T31" fmla="*/ 447 h 516"/>
                    <a:gd name="T32" fmla="*/ 5 w 684"/>
                    <a:gd name="T33" fmla="*/ 452 h 516"/>
                    <a:gd name="T34" fmla="*/ 34 w 684"/>
                    <a:gd name="T35" fmla="*/ 389 h 516"/>
                    <a:gd name="T36" fmla="*/ 63 w 684"/>
                    <a:gd name="T37" fmla="*/ 354 h 516"/>
                    <a:gd name="T38" fmla="*/ 46 w 684"/>
                    <a:gd name="T39" fmla="*/ 319 h 516"/>
                    <a:gd name="T40" fmla="*/ 87 w 684"/>
                    <a:gd name="T41" fmla="*/ 278 h 516"/>
                    <a:gd name="T42" fmla="*/ 145 w 684"/>
                    <a:gd name="T43" fmla="*/ 273 h 516"/>
                    <a:gd name="T44" fmla="*/ 197 w 684"/>
                    <a:gd name="T45" fmla="*/ 267 h 516"/>
                    <a:gd name="T46" fmla="*/ 232 w 684"/>
                    <a:gd name="T47" fmla="*/ 249 h 516"/>
                    <a:gd name="T48" fmla="*/ 261 w 684"/>
                    <a:gd name="T49" fmla="*/ 220 h 516"/>
                    <a:gd name="T50" fmla="*/ 255 w 684"/>
                    <a:gd name="T51" fmla="*/ 191 h 516"/>
                    <a:gd name="T52" fmla="*/ 255 w 684"/>
                    <a:gd name="T53" fmla="*/ 186 h 516"/>
                    <a:gd name="T54" fmla="*/ 249 w 684"/>
                    <a:gd name="T55" fmla="*/ 168 h 516"/>
                    <a:gd name="T56" fmla="*/ 249 w 684"/>
                    <a:gd name="T57" fmla="*/ 139 h 516"/>
                    <a:gd name="T58" fmla="*/ 272 w 684"/>
                    <a:gd name="T59" fmla="*/ 110 h 516"/>
                    <a:gd name="T60" fmla="*/ 313 w 684"/>
                    <a:gd name="T61" fmla="*/ 46 h 516"/>
                    <a:gd name="T62" fmla="*/ 400 w 684"/>
                    <a:gd name="T63" fmla="*/ 17 h 516"/>
                    <a:gd name="T64" fmla="*/ 452 w 684"/>
                    <a:gd name="T65" fmla="*/ 17 h 516"/>
                    <a:gd name="T66" fmla="*/ 475 w 684"/>
                    <a:gd name="T67" fmla="*/ 81 h 516"/>
                    <a:gd name="T68" fmla="*/ 481 w 684"/>
                    <a:gd name="T69" fmla="*/ 133 h 516"/>
                    <a:gd name="T70" fmla="*/ 487 w 684"/>
                    <a:gd name="T71" fmla="*/ 157 h 516"/>
                    <a:gd name="T72" fmla="*/ 510 w 684"/>
                    <a:gd name="T73" fmla="*/ 191 h 516"/>
                    <a:gd name="T74" fmla="*/ 522 w 684"/>
                    <a:gd name="T75" fmla="*/ 238 h 516"/>
                    <a:gd name="T76" fmla="*/ 522 w 684"/>
                    <a:gd name="T77" fmla="*/ 261 h 516"/>
                    <a:gd name="T78" fmla="*/ 528 w 684"/>
                    <a:gd name="T79" fmla="*/ 331 h 516"/>
                    <a:gd name="T80" fmla="*/ 534 w 684"/>
                    <a:gd name="T81" fmla="*/ 371 h 516"/>
                    <a:gd name="T82" fmla="*/ 539 w 684"/>
                    <a:gd name="T83" fmla="*/ 389 h 516"/>
                    <a:gd name="T84" fmla="*/ 551 w 684"/>
                    <a:gd name="T85" fmla="*/ 423 h 516"/>
                    <a:gd name="T86" fmla="*/ 539 w 684"/>
                    <a:gd name="T87" fmla="*/ 458 h 516"/>
                    <a:gd name="T88" fmla="*/ 539 w 684"/>
                    <a:gd name="T89" fmla="*/ 470 h 516"/>
                    <a:gd name="T90" fmla="*/ 557 w 684"/>
                    <a:gd name="T91" fmla="*/ 452 h 516"/>
                    <a:gd name="T92" fmla="*/ 586 w 684"/>
                    <a:gd name="T93" fmla="*/ 441 h 516"/>
                    <a:gd name="T94" fmla="*/ 655 w 684"/>
                    <a:gd name="T95" fmla="*/ 400 h 516"/>
                    <a:gd name="T96" fmla="*/ 673 w 684"/>
                    <a:gd name="T97" fmla="*/ 412 h 516"/>
                    <a:gd name="T98" fmla="*/ 661 w 684"/>
                    <a:gd name="T99" fmla="*/ 423 h 516"/>
                    <a:gd name="T100" fmla="*/ 557 w 684"/>
                    <a:gd name="T101" fmla="*/ 493 h 516"/>
                    <a:gd name="T102" fmla="*/ 534 w 684"/>
                    <a:gd name="T103" fmla="*/ 505 h 516"/>
                    <a:gd name="T104" fmla="*/ 516 w 684"/>
                    <a:gd name="T105" fmla="*/ 510 h 516"/>
                    <a:gd name="T106" fmla="*/ 510 w 684"/>
                    <a:gd name="T107" fmla="*/ 505 h 516"/>
                    <a:gd name="T108" fmla="*/ 516 w 684"/>
                    <a:gd name="T109" fmla="*/ 499 h 516"/>
                    <a:gd name="T110" fmla="*/ 522 w 684"/>
                    <a:gd name="T111" fmla="*/ 481 h 516"/>
                    <a:gd name="T112" fmla="*/ 522 w 684"/>
                    <a:gd name="T113" fmla="*/ 458 h 51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684"/>
                    <a:gd name="T172" fmla="*/ 0 h 516"/>
                    <a:gd name="T173" fmla="*/ 684 w 684"/>
                    <a:gd name="T174" fmla="*/ 516 h 516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684" h="516">
                      <a:moveTo>
                        <a:pt x="522" y="452"/>
                      </a:moveTo>
                      <a:lnTo>
                        <a:pt x="499" y="447"/>
                      </a:lnTo>
                      <a:lnTo>
                        <a:pt x="493" y="447"/>
                      </a:lnTo>
                      <a:lnTo>
                        <a:pt x="487" y="447"/>
                      </a:lnTo>
                      <a:lnTo>
                        <a:pt x="481" y="441"/>
                      </a:lnTo>
                      <a:lnTo>
                        <a:pt x="475" y="441"/>
                      </a:lnTo>
                      <a:lnTo>
                        <a:pt x="470" y="441"/>
                      </a:lnTo>
                      <a:lnTo>
                        <a:pt x="458" y="435"/>
                      </a:lnTo>
                      <a:lnTo>
                        <a:pt x="446" y="429"/>
                      </a:lnTo>
                      <a:lnTo>
                        <a:pt x="441" y="423"/>
                      </a:lnTo>
                      <a:lnTo>
                        <a:pt x="429" y="429"/>
                      </a:lnTo>
                      <a:lnTo>
                        <a:pt x="417" y="423"/>
                      </a:lnTo>
                      <a:lnTo>
                        <a:pt x="406" y="412"/>
                      </a:lnTo>
                      <a:lnTo>
                        <a:pt x="412" y="412"/>
                      </a:lnTo>
                      <a:lnTo>
                        <a:pt x="406" y="394"/>
                      </a:lnTo>
                      <a:lnTo>
                        <a:pt x="394" y="389"/>
                      </a:lnTo>
                      <a:lnTo>
                        <a:pt x="394" y="383"/>
                      </a:lnTo>
                      <a:lnTo>
                        <a:pt x="388" y="389"/>
                      </a:lnTo>
                      <a:lnTo>
                        <a:pt x="371" y="377"/>
                      </a:lnTo>
                      <a:lnTo>
                        <a:pt x="365" y="377"/>
                      </a:lnTo>
                      <a:lnTo>
                        <a:pt x="336" y="383"/>
                      </a:lnTo>
                      <a:lnTo>
                        <a:pt x="319" y="389"/>
                      </a:lnTo>
                      <a:lnTo>
                        <a:pt x="313" y="389"/>
                      </a:lnTo>
                      <a:lnTo>
                        <a:pt x="307" y="389"/>
                      </a:lnTo>
                      <a:lnTo>
                        <a:pt x="301" y="394"/>
                      </a:lnTo>
                      <a:lnTo>
                        <a:pt x="290" y="394"/>
                      </a:lnTo>
                      <a:lnTo>
                        <a:pt x="272" y="400"/>
                      </a:lnTo>
                      <a:lnTo>
                        <a:pt x="255" y="400"/>
                      </a:lnTo>
                      <a:lnTo>
                        <a:pt x="249" y="406"/>
                      </a:lnTo>
                      <a:lnTo>
                        <a:pt x="243" y="406"/>
                      </a:lnTo>
                      <a:lnTo>
                        <a:pt x="238" y="406"/>
                      </a:lnTo>
                      <a:lnTo>
                        <a:pt x="232" y="406"/>
                      </a:lnTo>
                      <a:lnTo>
                        <a:pt x="197" y="418"/>
                      </a:lnTo>
                      <a:lnTo>
                        <a:pt x="185" y="418"/>
                      </a:lnTo>
                      <a:lnTo>
                        <a:pt x="179" y="418"/>
                      </a:lnTo>
                      <a:lnTo>
                        <a:pt x="174" y="418"/>
                      </a:lnTo>
                      <a:lnTo>
                        <a:pt x="162" y="423"/>
                      </a:lnTo>
                      <a:lnTo>
                        <a:pt x="145" y="423"/>
                      </a:lnTo>
                      <a:lnTo>
                        <a:pt x="139" y="429"/>
                      </a:lnTo>
                      <a:lnTo>
                        <a:pt x="133" y="429"/>
                      </a:lnTo>
                      <a:lnTo>
                        <a:pt x="127" y="429"/>
                      </a:lnTo>
                      <a:lnTo>
                        <a:pt x="104" y="435"/>
                      </a:lnTo>
                      <a:lnTo>
                        <a:pt x="81" y="441"/>
                      </a:lnTo>
                      <a:lnTo>
                        <a:pt x="75" y="441"/>
                      </a:lnTo>
                      <a:lnTo>
                        <a:pt x="69" y="441"/>
                      </a:lnTo>
                      <a:lnTo>
                        <a:pt x="63" y="441"/>
                      </a:lnTo>
                      <a:lnTo>
                        <a:pt x="58" y="447"/>
                      </a:lnTo>
                      <a:lnTo>
                        <a:pt x="34" y="447"/>
                      </a:lnTo>
                      <a:lnTo>
                        <a:pt x="23" y="452"/>
                      </a:lnTo>
                      <a:lnTo>
                        <a:pt x="17" y="452"/>
                      </a:lnTo>
                      <a:lnTo>
                        <a:pt x="5" y="452"/>
                      </a:lnTo>
                      <a:lnTo>
                        <a:pt x="0" y="423"/>
                      </a:lnTo>
                      <a:lnTo>
                        <a:pt x="11" y="412"/>
                      </a:lnTo>
                      <a:lnTo>
                        <a:pt x="34" y="389"/>
                      </a:lnTo>
                      <a:lnTo>
                        <a:pt x="46" y="377"/>
                      </a:lnTo>
                      <a:lnTo>
                        <a:pt x="58" y="360"/>
                      </a:lnTo>
                      <a:lnTo>
                        <a:pt x="63" y="354"/>
                      </a:lnTo>
                      <a:lnTo>
                        <a:pt x="58" y="336"/>
                      </a:lnTo>
                      <a:lnTo>
                        <a:pt x="46" y="331"/>
                      </a:lnTo>
                      <a:lnTo>
                        <a:pt x="46" y="319"/>
                      </a:lnTo>
                      <a:lnTo>
                        <a:pt x="40" y="319"/>
                      </a:lnTo>
                      <a:lnTo>
                        <a:pt x="40" y="302"/>
                      </a:lnTo>
                      <a:lnTo>
                        <a:pt x="87" y="278"/>
                      </a:lnTo>
                      <a:lnTo>
                        <a:pt x="110" y="273"/>
                      </a:lnTo>
                      <a:lnTo>
                        <a:pt x="121" y="273"/>
                      </a:lnTo>
                      <a:lnTo>
                        <a:pt x="145" y="273"/>
                      </a:lnTo>
                      <a:lnTo>
                        <a:pt x="162" y="278"/>
                      </a:lnTo>
                      <a:lnTo>
                        <a:pt x="174" y="273"/>
                      </a:lnTo>
                      <a:lnTo>
                        <a:pt x="197" y="267"/>
                      </a:lnTo>
                      <a:lnTo>
                        <a:pt x="209" y="267"/>
                      </a:lnTo>
                      <a:lnTo>
                        <a:pt x="226" y="249"/>
                      </a:lnTo>
                      <a:lnTo>
                        <a:pt x="232" y="249"/>
                      </a:lnTo>
                      <a:lnTo>
                        <a:pt x="232" y="244"/>
                      </a:lnTo>
                      <a:lnTo>
                        <a:pt x="243" y="232"/>
                      </a:lnTo>
                      <a:lnTo>
                        <a:pt x="261" y="220"/>
                      </a:lnTo>
                      <a:lnTo>
                        <a:pt x="261" y="209"/>
                      </a:lnTo>
                      <a:lnTo>
                        <a:pt x="261" y="203"/>
                      </a:lnTo>
                      <a:lnTo>
                        <a:pt x="255" y="191"/>
                      </a:lnTo>
                      <a:lnTo>
                        <a:pt x="249" y="191"/>
                      </a:lnTo>
                      <a:lnTo>
                        <a:pt x="249" y="186"/>
                      </a:lnTo>
                      <a:lnTo>
                        <a:pt x="255" y="186"/>
                      </a:lnTo>
                      <a:lnTo>
                        <a:pt x="261" y="180"/>
                      </a:lnTo>
                      <a:lnTo>
                        <a:pt x="249" y="174"/>
                      </a:lnTo>
                      <a:lnTo>
                        <a:pt x="249" y="168"/>
                      </a:lnTo>
                      <a:lnTo>
                        <a:pt x="238" y="168"/>
                      </a:lnTo>
                      <a:lnTo>
                        <a:pt x="238" y="151"/>
                      </a:lnTo>
                      <a:lnTo>
                        <a:pt x="249" y="139"/>
                      </a:lnTo>
                      <a:lnTo>
                        <a:pt x="267" y="122"/>
                      </a:lnTo>
                      <a:lnTo>
                        <a:pt x="267" y="116"/>
                      </a:lnTo>
                      <a:lnTo>
                        <a:pt x="272" y="110"/>
                      </a:lnTo>
                      <a:lnTo>
                        <a:pt x="301" y="58"/>
                      </a:lnTo>
                      <a:lnTo>
                        <a:pt x="313" y="52"/>
                      </a:lnTo>
                      <a:lnTo>
                        <a:pt x="313" y="46"/>
                      </a:lnTo>
                      <a:lnTo>
                        <a:pt x="330" y="35"/>
                      </a:lnTo>
                      <a:lnTo>
                        <a:pt x="342" y="29"/>
                      </a:lnTo>
                      <a:lnTo>
                        <a:pt x="400" y="17"/>
                      </a:lnTo>
                      <a:lnTo>
                        <a:pt x="429" y="6"/>
                      </a:lnTo>
                      <a:lnTo>
                        <a:pt x="452" y="0"/>
                      </a:lnTo>
                      <a:lnTo>
                        <a:pt x="452" y="17"/>
                      </a:lnTo>
                      <a:lnTo>
                        <a:pt x="464" y="52"/>
                      </a:lnTo>
                      <a:lnTo>
                        <a:pt x="470" y="58"/>
                      </a:lnTo>
                      <a:lnTo>
                        <a:pt x="475" y="81"/>
                      </a:lnTo>
                      <a:lnTo>
                        <a:pt x="470" y="93"/>
                      </a:lnTo>
                      <a:lnTo>
                        <a:pt x="470" y="104"/>
                      </a:lnTo>
                      <a:lnTo>
                        <a:pt x="481" y="133"/>
                      </a:lnTo>
                      <a:lnTo>
                        <a:pt x="487" y="133"/>
                      </a:lnTo>
                      <a:lnTo>
                        <a:pt x="487" y="139"/>
                      </a:lnTo>
                      <a:lnTo>
                        <a:pt x="487" y="157"/>
                      </a:lnTo>
                      <a:lnTo>
                        <a:pt x="493" y="151"/>
                      </a:lnTo>
                      <a:lnTo>
                        <a:pt x="510" y="186"/>
                      </a:lnTo>
                      <a:lnTo>
                        <a:pt x="510" y="191"/>
                      </a:lnTo>
                      <a:lnTo>
                        <a:pt x="510" y="209"/>
                      </a:lnTo>
                      <a:lnTo>
                        <a:pt x="516" y="226"/>
                      </a:lnTo>
                      <a:lnTo>
                        <a:pt x="522" y="238"/>
                      </a:lnTo>
                      <a:lnTo>
                        <a:pt x="522" y="249"/>
                      </a:lnTo>
                      <a:lnTo>
                        <a:pt x="522" y="255"/>
                      </a:lnTo>
                      <a:lnTo>
                        <a:pt x="522" y="261"/>
                      </a:lnTo>
                      <a:lnTo>
                        <a:pt x="522" y="278"/>
                      </a:lnTo>
                      <a:lnTo>
                        <a:pt x="522" y="325"/>
                      </a:lnTo>
                      <a:lnTo>
                        <a:pt x="528" y="331"/>
                      </a:lnTo>
                      <a:lnTo>
                        <a:pt x="528" y="336"/>
                      </a:lnTo>
                      <a:lnTo>
                        <a:pt x="534" y="365"/>
                      </a:lnTo>
                      <a:lnTo>
                        <a:pt x="534" y="371"/>
                      </a:lnTo>
                      <a:lnTo>
                        <a:pt x="534" y="377"/>
                      </a:lnTo>
                      <a:lnTo>
                        <a:pt x="534" y="383"/>
                      </a:lnTo>
                      <a:lnTo>
                        <a:pt x="539" y="389"/>
                      </a:lnTo>
                      <a:lnTo>
                        <a:pt x="539" y="400"/>
                      </a:lnTo>
                      <a:lnTo>
                        <a:pt x="539" y="406"/>
                      </a:lnTo>
                      <a:lnTo>
                        <a:pt x="551" y="423"/>
                      </a:lnTo>
                      <a:lnTo>
                        <a:pt x="534" y="441"/>
                      </a:lnTo>
                      <a:lnTo>
                        <a:pt x="545" y="452"/>
                      </a:lnTo>
                      <a:lnTo>
                        <a:pt x="539" y="458"/>
                      </a:lnTo>
                      <a:lnTo>
                        <a:pt x="539" y="464"/>
                      </a:lnTo>
                      <a:lnTo>
                        <a:pt x="534" y="464"/>
                      </a:lnTo>
                      <a:lnTo>
                        <a:pt x="539" y="470"/>
                      </a:lnTo>
                      <a:lnTo>
                        <a:pt x="545" y="464"/>
                      </a:lnTo>
                      <a:lnTo>
                        <a:pt x="545" y="458"/>
                      </a:lnTo>
                      <a:lnTo>
                        <a:pt x="557" y="452"/>
                      </a:lnTo>
                      <a:lnTo>
                        <a:pt x="568" y="447"/>
                      </a:lnTo>
                      <a:lnTo>
                        <a:pt x="580" y="452"/>
                      </a:lnTo>
                      <a:lnTo>
                        <a:pt x="586" y="441"/>
                      </a:lnTo>
                      <a:lnTo>
                        <a:pt x="626" y="429"/>
                      </a:lnTo>
                      <a:lnTo>
                        <a:pt x="644" y="406"/>
                      </a:lnTo>
                      <a:lnTo>
                        <a:pt x="655" y="400"/>
                      </a:lnTo>
                      <a:lnTo>
                        <a:pt x="655" y="406"/>
                      </a:lnTo>
                      <a:lnTo>
                        <a:pt x="655" y="412"/>
                      </a:lnTo>
                      <a:lnTo>
                        <a:pt x="673" y="412"/>
                      </a:lnTo>
                      <a:lnTo>
                        <a:pt x="679" y="406"/>
                      </a:lnTo>
                      <a:lnTo>
                        <a:pt x="684" y="406"/>
                      </a:lnTo>
                      <a:lnTo>
                        <a:pt x="661" y="423"/>
                      </a:lnTo>
                      <a:lnTo>
                        <a:pt x="586" y="481"/>
                      </a:lnTo>
                      <a:lnTo>
                        <a:pt x="574" y="487"/>
                      </a:lnTo>
                      <a:lnTo>
                        <a:pt x="557" y="493"/>
                      </a:lnTo>
                      <a:lnTo>
                        <a:pt x="545" y="499"/>
                      </a:lnTo>
                      <a:lnTo>
                        <a:pt x="539" y="505"/>
                      </a:lnTo>
                      <a:lnTo>
                        <a:pt x="534" y="505"/>
                      </a:lnTo>
                      <a:lnTo>
                        <a:pt x="528" y="505"/>
                      </a:lnTo>
                      <a:lnTo>
                        <a:pt x="522" y="499"/>
                      </a:lnTo>
                      <a:lnTo>
                        <a:pt x="516" y="510"/>
                      </a:lnTo>
                      <a:lnTo>
                        <a:pt x="504" y="516"/>
                      </a:lnTo>
                      <a:lnTo>
                        <a:pt x="504" y="510"/>
                      </a:lnTo>
                      <a:lnTo>
                        <a:pt x="510" y="505"/>
                      </a:lnTo>
                      <a:lnTo>
                        <a:pt x="504" y="505"/>
                      </a:lnTo>
                      <a:lnTo>
                        <a:pt x="510" y="499"/>
                      </a:lnTo>
                      <a:lnTo>
                        <a:pt x="516" y="499"/>
                      </a:lnTo>
                      <a:lnTo>
                        <a:pt x="522" y="493"/>
                      </a:lnTo>
                      <a:lnTo>
                        <a:pt x="522" y="487"/>
                      </a:lnTo>
                      <a:lnTo>
                        <a:pt x="522" y="481"/>
                      </a:lnTo>
                      <a:lnTo>
                        <a:pt x="522" y="470"/>
                      </a:lnTo>
                      <a:lnTo>
                        <a:pt x="522" y="464"/>
                      </a:lnTo>
                      <a:lnTo>
                        <a:pt x="522" y="458"/>
                      </a:lnTo>
                      <a:lnTo>
                        <a:pt x="522" y="452"/>
                      </a:lnTo>
                      <a:close/>
                    </a:path>
                  </a:pathLst>
                </a:custGeom>
                <a:solidFill>
                  <a:srgbClr val="5B9BD5"/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7" name="Freeform 16"/>
                <p:cNvSpPr>
                  <a:spLocks/>
                </p:cNvSpPr>
                <p:nvPr/>
              </p:nvSpPr>
              <p:spPr bwMode="auto">
                <a:xfrm>
                  <a:off x="6298903" y="1329388"/>
                  <a:ext cx="838200" cy="542780"/>
                </a:xfrm>
                <a:custGeom>
                  <a:avLst/>
                  <a:gdLst>
                    <a:gd name="T0" fmla="*/ 366 w 528"/>
                    <a:gd name="T1" fmla="*/ 278 h 342"/>
                    <a:gd name="T2" fmla="*/ 383 w 528"/>
                    <a:gd name="T3" fmla="*/ 273 h 342"/>
                    <a:gd name="T4" fmla="*/ 418 w 528"/>
                    <a:gd name="T5" fmla="*/ 267 h 342"/>
                    <a:gd name="T6" fmla="*/ 453 w 528"/>
                    <a:gd name="T7" fmla="*/ 261 h 342"/>
                    <a:gd name="T8" fmla="*/ 470 w 528"/>
                    <a:gd name="T9" fmla="*/ 238 h 342"/>
                    <a:gd name="T10" fmla="*/ 494 w 528"/>
                    <a:gd name="T11" fmla="*/ 232 h 342"/>
                    <a:gd name="T12" fmla="*/ 499 w 528"/>
                    <a:gd name="T13" fmla="*/ 220 h 342"/>
                    <a:gd name="T14" fmla="*/ 511 w 528"/>
                    <a:gd name="T15" fmla="*/ 203 h 342"/>
                    <a:gd name="T16" fmla="*/ 528 w 528"/>
                    <a:gd name="T17" fmla="*/ 191 h 342"/>
                    <a:gd name="T18" fmla="*/ 505 w 528"/>
                    <a:gd name="T19" fmla="*/ 174 h 342"/>
                    <a:gd name="T20" fmla="*/ 476 w 528"/>
                    <a:gd name="T21" fmla="*/ 151 h 342"/>
                    <a:gd name="T22" fmla="*/ 476 w 528"/>
                    <a:gd name="T23" fmla="*/ 104 h 342"/>
                    <a:gd name="T24" fmla="*/ 482 w 528"/>
                    <a:gd name="T25" fmla="*/ 87 h 342"/>
                    <a:gd name="T26" fmla="*/ 488 w 528"/>
                    <a:gd name="T27" fmla="*/ 70 h 342"/>
                    <a:gd name="T28" fmla="*/ 494 w 528"/>
                    <a:gd name="T29" fmla="*/ 46 h 342"/>
                    <a:gd name="T30" fmla="*/ 459 w 528"/>
                    <a:gd name="T31" fmla="*/ 35 h 342"/>
                    <a:gd name="T32" fmla="*/ 447 w 528"/>
                    <a:gd name="T33" fmla="*/ 12 h 342"/>
                    <a:gd name="T34" fmla="*/ 424 w 528"/>
                    <a:gd name="T35" fmla="*/ 0 h 342"/>
                    <a:gd name="T36" fmla="*/ 372 w 528"/>
                    <a:gd name="T37" fmla="*/ 12 h 342"/>
                    <a:gd name="T38" fmla="*/ 354 w 528"/>
                    <a:gd name="T39" fmla="*/ 17 h 342"/>
                    <a:gd name="T40" fmla="*/ 308 w 528"/>
                    <a:gd name="T41" fmla="*/ 23 h 342"/>
                    <a:gd name="T42" fmla="*/ 291 w 528"/>
                    <a:gd name="T43" fmla="*/ 29 h 342"/>
                    <a:gd name="T44" fmla="*/ 238 w 528"/>
                    <a:gd name="T45" fmla="*/ 41 h 342"/>
                    <a:gd name="T46" fmla="*/ 215 w 528"/>
                    <a:gd name="T47" fmla="*/ 46 h 342"/>
                    <a:gd name="T48" fmla="*/ 186 w 528"/>
                    <a:gd name="T49" fmla="*/ 52 h 342"/>
                    <a:gd name="T50" fmla="*/ 134 w 528"/>
                    <a:gd name="T51" fmla="*/ 64 h 342"/>
                    <a:gd name="T52" fmla="*/ 116 w 528"/>
                    <a:gd name="T53" fmla="*/ 64 h 342"/>
                    <a:gd name="T54" fmla="*/ 76 w 528"/>
                    <a:gd name="T55" fmla="*/ 75 h 342"/>
                    <a:gd name="T56" fmla="*/ 53 w 528"/>
                    <a:gd name="T57" fmla="*/ 46 h 342"/>
                    <a:gd name="T58" fmla="*/ 0 w 528"/>
                    <a:gd name="T59" fmla="*/ 93 h 342"/>
                    <a:gd name="T60" fmla="*/ 6 w 528"/>
                    <a:gd name="T61" fmla="*/ 128 h 342"/>
                    <a:gd name="T62" fmla="*/ 12 w 528"/>
                    <a:gd name="T63" fmla="*/ 168 h 342"/>
                    <a:gd name="T64" fmla="*/ 18 w 528"/>
                    <a:gd name="T65" fmla="*/ 203 h 342"/>
                    <a:gd name="T66" fmla="*/ 24 w 528"/>
                    <a:gd name="T67" fmla="*/ 220 h 342"/>
                    <a:gd name="T68" fmla="*/ 24 w 528"/>
                    <a:gd name="T69" fmla="*/ 244 h 342"/>
                    <a:gd name="T70" fmla="*/ 29 w 528"/>
                    <a:gd name="T71" fmla="*/ 267 h 342"/>
                    <a:gd name="T72" fmla="*/ 35 w 528"/>
                    <a:gd name="T73" fmla="*/ 302 h 342"/>
                    <a:gd name="T74" fmla="*/ 41 w 528"/>
                    <a:gd name="T75" fmla="*/ 313 h 342"/>
                    <a:gd name="T76" fmla="*/ 53 w 528"/>
                    <a:gd name="T77" fmla="*/ 342 h 342"/>
                    <a:gd name="T78" fmla="*/ 99 w 528"/>
                    <a:gd name="T79" fmla="*/ 331 h 342"/>
                    <a:gd name="T80" fmla="*/ 122 w 528"/>
                    <a:gd name="T81" fmla="*/ 331 h 342"/>
                    <a:gd name="T82" fmla="*/ 140 w 528"/>
                    <a:gd name="T83" fmla="*/ 325 h 342"/>
                    <a:gd name="T84" fmla="*/ 186 w 528"/>
                    <a:gd name="T85" fmla="*/ 313 h 342"/>
                    <a:gd name="T86" fmla="*/ 227 w 528"/>
                    <a:gd name="T87" fmla="*/ 307 h 342"/>
                    <a:gd name="T88" fmla="*/ 250 w 528"/>
                    <a:gd name="T89" fmla="*/ 302 h 342"/>
                    <a:gd name="T90" fmla="*/ 308 w 528"/>
                    <a:gd name="T91" fmla="*/ 290 h 342"/>
                    <a:gd name="T92" fmla="*/ 343 w 528"/>
                    <a:gd name="T93" fmla="*/ 284 h 342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528"/>
                    <a:gd name="T142" fmla="*/ 0 h 342"/>
                    <a:gd name="T143" fmla="*/ 528 w 528"/>
                    <a:gd name="T144" fmla="*/ 342 h 342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528" h="342">
                      <a:moveTo>
                        <a:pt x="349" y="284"/>
                      </a:moveTo>
                      <a:lnTo>
                        <a:pt x="354" y="278"/>
                      </a:lnTo>
                      <a:lnTo>
                        <a:pt x="366" y="278"/>
                      </a:lnTo>
                      <a:lnTo>
                        <a:pt x="372" y="278"/>
                      </a:lnTo>
                      <a:lnTo>
                        <a:pt x="378" y="273"/>
                      </a:lnTo>
                      <a:lnTo>
                        <a:pt x="383" y="273"/>
                      </a:lnTo>
                      <a:lnTo>
                        <a:pt x="389" y="273"/>
                      </a:lnTo>
                      <a:lnTo>
                        <a:pt x="412" y="267"/>
                      </a:lnTo>
                      <a:lnTo>
                        <a:pt x="418" y="267"/>
                      </a:lnTo>
                      <a:lnTo>
                        <a:pt x="436" y="261"/>
                      </a:lnTo>
                      <a:lnTo>
                        <a:pt x="441" y="261"/>
                      </a:lnTo>
                      <a:lnTo>
                        <a:pt x="453" y="261"/>
                      </a:lnTo>
                      <a:lnTo>
                        <a:pt x="453" y="255"/>
                      </a:lnTo>
                      <a:lnTo>
                        <a:pt x="465" y="244"/>
                      </a:lnTo>
                      <a:lnTo>
                        <a:pt x="470" y="238"/>
                      </a:lnTo>
                      <a:lnTo>
                        <a:pt x="482" y="244"/>
                      </a:lnTo>
                      <a:lnTo>
                        <a:pt x="482" y="238"/>
                      </a:lnTo>
                      <a:lnTo>
                        <a:pt x="494" y="232"/>
                      </a:lnTo>
                      <a:lnTo>
                        <a:pt x="499" y="232"/>
                      </a:lnTo>
                      <a:lnTo>
                        <a:pt x="499" y="226"/>
                      </a:lnTo>
                      <a:lnTo>
                        <a:pt x="499" y="220"/>
                      </a:lnTo>
                      <a:lnTo>
                        <a:pt x="505" y="215"/>
                      </a:lnTo>
                      <a:lnTo>
                        <a:pt x="511" y="209"/>
                      </a:lnTo>
                      <a:lnTo>
                        <a:pt x="511" y="203"/>
                      </a:lnTo>
                      <a:lnTo>
                        <a:pt x="517" y="197"/>
                      </a:lnTo>
                      <a:lnTo>
                        <a:pt x="523" y="191"/>
                      </a:lnTo>
                      <a:lnTo>
                        <a:pt x="528" y="191"/>
                      </a:lnTo>
                      <a:lnTo>
                        <a:pt x="517" y="180"/>
                      </a:lnTo>
                      <a:lnTo>
                        <a:pt x="511" y="174"/>
                      </a:lnTo>
                      <a:lnTo>
                        <a:pt x="505" y="174"/>
                      </a:lnTo>
                      <a:lnTo>
                        <a:pt x="505" y="168"/>
                      </a:lnTo>
                      <a:lnTo>
                        <a:pt x="482" y="151"/>
                      </a:lnTo>
                      <a:lnTo>
                        <a:pt x="476" y="151"/>
                      </a:lnTo>
                      <a:lnTo>
                        <a:pt x="470" y="133"/>
                      </a:lnTo>
                      <a:lnTo>
                        <a:pt x="482" y="116"/>
                      </a:lnTo>
                      <a:lnTo>
                        <a:pt x="476" y="104"/>
                      </a:lnTo>
                      <a:lnTo>
                        <a:pt x="470" y="104"/>
                      </a:lnTo>
                      <a:lnTo>
                        <a:pt x="482" y="93"/>
                      </a:lnTo>
                      <a:lnTo>
                        <a:pt x="482" y="87"/>
                      </a:lnTo>
                      <a:lnTo>
                        <a:pt x="482" y="93"/>
                      </a:lnTo>
                      <a:lnTo>
                        <a:pt x="488" y="81"/>
                      </a:lnTo>
                      <a:lnTo>
                        <a:pt x="488" y="70"/>
                      </a:lnTo>
                      <a:lnTo>
                        <a:pt x="494" y="58"/>
                      </a:lnTo>
                      <a:lnTo>
                        <a:pt x="499" y="52"/>
                      </a:lnTo>
                      <a:lnTo>
                        <a:pt x="494" y="46"/>
                      </a:lnTo>
                      <a:lnTo>
                        <a:pt x="482" y="52"/>
                      </a:lnTo>
                      <a:lnTo>
                        <a:pt x="470" y="46"/>
                      </a:lnTo>
                      <a:lnTo>
                        <a:pt x="459" y="35"/>
                      </a:lnTo>
                      <a:lnTo>
                        <a:pt x="465" y="35"/>
                      </a:lnTo>
                      <a:lnTo>
                        <a:pt x="459" y="17"/>
                      </a:lnTo>
                      <a:lnTo>
                        <a:pt x="447" y="12"/>
                      </a:lnTo>
                      <a:lnTo>
                        <a:pt x="447" y="6"/>
                      </a:lnTo>
                      <a:lnTo>
                        <a:pt x="441" y="12"/>
                      </a:lnTo>
                      <a:lnTo>
                        <a:pt x="424" y="0"/>
                      </a:lnTo>
                      <a:lnTo>
                        <a:pt x="418" y="0"/>
                      </a:lnTo>
                      <a:lnTo>
                        <a:pt x="389" y="6"/>
                      </a:lnTo>
                      <a:lnTo>
                        <a:pt x="372" y="12"/>
                      </a:lnTo>
                      <a:lnTo>
                        <a:pt x="366" y="12"/>
                      </a:lnTo>
                      <a:lnTo>
                        <a:pt x="360" y="12"/>
                      </a:lnTo>
                      <a:lnTo>
                        <a:pt x="354" y="17"/>
                      </a:lnTo>
                      <a:lnTo>
                        <a:pt x="343" y="17"/>
                      </a:lnTo>
                      <a:lnTo>
                        <a:pt x="325" y="23"/>
                      </a:lnTo>
                      <a:lnTo>
                        <a:pt x="308" y="23"/>
                      </a:lnTo>
                      <a:lnTo>
                        <a:pt x="302" y="29"/>
                      </a:lnTo>
                      <a:lnTo>
                        <a:pt x="296" y="29"/>
                      </a:lnTo>
                      <a:lnTo>
                        <a:pt x="291" y="29"/>
                      </a:lnTo>
                      <a:lnTo>
                        <a:pt x="285" y="29"/>
                      </a:lnTo>
                      <a:lnTo>
                        <a:pt x="250" y="41"/>
                      </a:lnTo>
                      <a:lnTo>
                        <a:pt x="238" y="41"/>
                      </a:lnTo>
                      <a:lnTo>
                        <a:pt x="232" y="41"/>
                      </a:lnTo>
                      <a:lnTo>
                        <a:pt x="227" y="41"/>
                      </a:lnTo>
                      <a:lnTo>
                        <a:pt x="215" y="46"/>
                      </a:lnTo>
                      <a:lnTo>
                        <a:pt x="198" y="46"/>
                      </a:lnTo>
                      <a:lnTo>
                        <a:pt x="192" y="52"/>
                      </a:lnTo>
                      <a:lnTo>
                        <a:pt x="186" y="52"/>
                      </a:lnTo>
                      <a:lnTo>
                        <a:pt x="180" y="52"/>
                      </a:lnTo>
                      <a:lnTo>
                        <a:pt x="157" y="58"/>
                      </a:lnTo>
                      <a:lnTo>
                        <a:pt x="134" y="64"/>
                      </a:lnTo>
                      <a:lnTo>
                        <a:pt x="128" y="64"/>
                      </a:lnTo>
                      <a:lnTo>
                        <a:pt x="122" y="64"/>
                      </a:lnTo>
                      <a:lnTo>
                        <a:pt x="116" y="64"/>
                      </a:lnTo>
                      <a:lnTo>
                        <a:pt x="111" y="70"/>
                      </a:lnTo>
                      <a:lnTo>
                        <a:pt x="87" y="70"/>
                      </a:lnTo>
                      <a:lnTo>
                        <a:pt x="76" y="75"/>
                      </a:lnTo>
                      <a:lnTo>
                        <a:pt x="70" y="75"/>
                      </a:lnTo>
                      <a:lnTo>
                        <a:pt x="58" y="75"/>
                      </a:lnTo>
                      <a:lnTo>
                        <a:pt x="53" y="46"/>
                      </a:lnTo>
                      <a:lnTo>
                        <a:pt x="24" y="70"/>
                      </a:lnTo>
                      <a:lnTo>
                        <a:pt x="0" y="87"/>
                      </a:lnTo>
                      <a:lnTo>
                        <a:pt x="0" y="93"/>
                      </a:lnTo>
                      <a:lnTo>
                        <a:pt x="0" y="104"/>
                      </a:lnTo>
                      <a:lnTo>
                        <a:pt x="6" y="122"/>
                      </a:lnTo>
                      <a:lnTo>
                        <a:pt x="6" y="128"/>
                      </a:lnTo>
                      <a:lnTo>
                        <a:pt x="6" y="145"/>
                      </a:lnTo>
                      <a:lnTo>
                        <a:pt x="12" y="157"/>
                      </a:lnTo>
                      <a:lnTo>
                        <a:pt x="12" y="168"/>
                      </a:lnTo>
                      <a:lnTo>
                        <a:pt x="18" y="186"/>
                      </a:lnTo>
                      <a:lnTo>
                        <a:pt x="18" y="197"/>
                      </a:lnTo>
                      <a:lnTo>
                        <a:pt x="18" y="203"/>
                      </a:lnTo>
                      <a:lnTo>
                        <a:pt x="18" y="209"/>
                      </a:lnTo>
                      <a:lnTo>
                        <a:pt x="18" y="215"/>
                      </a:lnTo>
                      <a:lnTo>
                        <a:pt x="24" y="220"/>
                      </a:lnTo>
                      <a:lnTo>
                        <a:pt x="24" y="232"/>
                      </a:lnTo>
                      <a:lnTo>
                        <a:pt x="24" y="238"/>
                      </a:lnTo>
                      <a:lnTo>
                        <a:pt x="24" y="244"/>
                      </a:lnTo>
                      <a:lnTo>
                        <a:pt x="29" y="255"/>
                      </a:lnTo>
                      <a:lnTo>
                        <a:pt x="29" y="261"/>
                      </a:lnTo>
                      <a:lnTo>
                        <a:pt x="29" y="267"/>
                      </a:lnTo>
                      <a:lnTo>
                        <a:pt x="35" y="284"/>
                      </a:lnTo>
                      <a:lnTo>
                        <a:pt x="35" y="296"/>
                      </a:lnTo>
                      <a:lnTo>
                        <a:pt x="35" y="302"/>
                      </a:lnTo>
                      <a:lnTo>
                        <a:pt x="35" y="307"/>
                      </a:lnTo>
                      <a:lnTo>
                        <a:pt x="35" y="313"/>
                      </a:lnTo>
                      <a:lnTo>
                        <a:pt x="41" y="313"/>
                      </a:lnTo>
                      <a:lnTo>
                        <a:pt x="41" y="342"/>
                      </a:lnTo>
                      <a:lnTo>
                        <a:pt x="47" y="342"/>
                      </a:lnTo>
                      <a:lnTo>
                        <a:pt x="53" y="342"/>
                      </a:lnTo>
                      <a:lnTo>
                        <a:pt x="58" y="342"/>
                      </a:lnTo>
                      <a:lnTo>
                        <a:pt x="93" y="331"/>
                      </a:lnTo>
                      <a:lnTo>
                        <a:pt x="99" y="331"/>
                      </a:lnTo>
                      <a:lnTo>
                        <a:pt x="105" y="331"/>
                      </a:lnTo>
                      <a:lnTo>
                        <a:pt x="111" y="331"/>
                      </a:lnTo>
                      <a:lnTo>
                        <a:pt x="122" y="331"/>
                      </a:lnTo>
                      <a:lnTo>
                        <a:pt x="128" y="325"/>
                      </a:lnTo>
                      <a:lnTo>
                        <a:pt x="134" y="325"/>
                      </a:lnTo>
                      <a:lnTo>
                        <a:pt x="140" y="325"/>
                      </a:lnTo>
                      <a:lnTo>
                        <a:pt x="169" y="319"/>
                      </a:lnTo>
                      <a:lnTo>
                        <a:pt x="180" y="319"/>
                      </a:lnTo>
                      <a:lnTo>
                        <a:pt x="186" y="313"/>
                      </a:lnTo>
                      <a:lnTo>
                        <a:pt x="192" y="313"/>
                      </a:lnTo>
                      <a:lnTo>
                        <a:pt x="215" y="307"/>
                      </a:lnTo>
                      <a:lnTo>
                        <a:pt x="227" y="307"/>
                      </a:lnTo>
                      <a:lnTo>
                        <a:pt x="232" y="307"/>
                      </a:lnTo>
                      <a:lnTo>
                        <a:pt x="238" y="307"/>
                      </a:lnTo>
                      <a:lnTo>
                        <a:pt x="250" y="302"/>
                      </a:lnTo>
                      <a:lnTo>
                        <a:pt x="262" y="302"/>
                      </a:lnTo>
                      <a:lnTo>
                        <a:pt x="302" y="290"/>
                      </a:lnTo>
                      <a:lnTo>
                        <a:pt x="308" y="290"/>
                      </a:lnTo>
                      <a:lnTo>
                        <a:pt x="320" y="290"/>
                      </a:lnTo>
                      <a:lnTo>
                        <a:pt x="325" y="284"/>
                      </a:lnTo>
                      <a:lnTo>
                        <a:pt x="343" y="284"/>
                      </a:lnTo>
                      <a:lnTo>
                        <a:pt x="349" y="284"/>
                      </a:lnTo>
                      <a:close/>
                    </a:path>
                  </a:pathLst>
                </a:custGeom>
                <a:solidFill>
                  <a:srgbClr val="5B9BD5"/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8" name="Freeform 17"/>
                <p:cNvSpPr>
                  <a:spLocks/>
                </p:cNvSpPr>
                <p:nvPr/>
              </p:nvSpPr>
              <p:spPr bwMode="auto">
                <a:xfrm>
                  <a:off x="7085013" y="1288705"/>
                  <a:ext cx="111125" cy="147598"/>
                </a:xfrm>
                <a:custGeom>
                  <a:avLst/>
                  <a:gdLst>
                    <a:gd name="T0" fmla="*/ 58 w 70"/>
                    <a:gd name="T1" fmla="*/ 35 h 93"/>
                    <a:gd name="T2" fmla="*/ 64 w 70"/>
                    <a:gd name="T3" fmla="*/ 35 h 93"/>
                    <a:gd name="T4" fmla="*/ 64 w 70"/>
                    <a:gd name="T5" fmla="*/ 41 h 93"/>
                    <a:gd name="T6" fmla="*/ 70 w 70"/>
                    <a:gd name="T7" fmla="*/ 52 h 93"/>
                    <a:gd name="T8" fmla="*/ 64 w 70"/>
                    <a:gd name="T9" fmla="*/ 58 h 93"/>
                    <a:gd name="T10" fmla="*/ 64 w 70"/>
                    <a:gd name="T11" fmla="*/ 52 h 93"/>
                    <a:gd name="T12" fmla="*/ 58 w 70"/>
                    <a:gd name="T13" fmla="*/ 52 h 93"/>
                    <a:gd name="T14" fmla="*/ 58 w 70"/>
                    <a:gd name="T15" fmla="*/ 64 h 93"/>
                    <a:gd name="T16" fmla="*/ 46 w 70"/>
                    <a:gd name="T17" fmla="*/ 64 h 93"/>
                    <a:gd name="T18" fmla="*/ 46 w 70"/>
                    <a:gd name="T19" fmla="*/ 76 h 93"/>
                    <a:gd name="T20" fmla="*/ 35 w 70"/>
                    <a:gd name="T21" fmla="*/ 81 h 93"/>
                    <a:gd name="T22" fmla="*/ 12 w 70"/>
                    <a:gd name="T23" fmla="*/ 93 h 93"/>
                    <a:gd name="T24" fmla="*/ 12 w 70"/>
                    <a:gd name="T25" fmla="*/ 87 h 93"/>
                    <a:gd name="T26" fmla="*/ 17 w 70"/>
                    <a:gd name="T27" fmla="*/ 76 h 93"/>
                    <a:gd name="T28" fmla="*/ 12 w 70"/>
                    <a:gd name="T29" fmla="*/ 58 h 93"/>
                    <a:gd name="T30" fmla="*/ 12 w 70"/>
                    <a:gd name="T31" fmla="*/ 52 h 93"/>
                    <a:gd name="T32" fmla="*/ 6 w 70"/>
                    <a:gd name="T33" fmla="*/ 41 h 93"/>
                    <a:gd name="T34" fmla="*/ 0 w 70"/>
                    <a:gd name="T35" fmla="*/ 23 h 93"/>
                    <a:gd name="T36" fmla="*/ 0 w 70"/>
                    <a:gd name="T37" fmla="*/ 12 h 93"/>
                    <a:gd name="T38" fmla="*/ 17 w 70"/>
                    <a:gd name="T39" fmla="*/ 6 h 93"/>
                    <a:gd name="T40" fmla="*/ 23 w 70"/>
                    <a:gd name="T41" fmla="*/ 6 h 93"/>
                    <a:gd name="T42" fmla="*/ 29 w 70"/>
                    <a:gd name="T43" fmla="*/ 6 h 93"/>
                    <a:gd name="T44" fmla="*/ 35 w 70"/>
                    <a:gd name="T45" fmla="*/ 0 h 93"/>
                    <a:gd name="T46" fmla="*/ 35 w 70"/>
                    <a:gd name="T47" fmla="*/ 6 h 93"/>
                    <a:gd name="T48" fmla="*/ 35 w 70"/>
                    <a:gd name="T49" fmla="*/ 18 h 93"/>
                    <a:gd name="T50" fmla="*/ 41 w 70"/>
                    <a:gd name="T51" fmla="*/ 12 h 93"/>
                    <a:gd name="T52" fmla="*/ 46 w 70"/>
                    <a:gd name="T53" fmla="*/ 29 h 93"/>
                    <a:gd name="T54" fmla="*/ 52 w 70"/>
                    <a:gd name="T55" fmla="*/ 29 h 93"/>
                    <a:gd name="T56" fmla="*/ 58 w 70"/>
                    <a:gd name="T57" fmla="*/ 35 h 9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70"/>
                    <a:gd name="T88" fmla="*/ 0 h 93"/>
                    <a:gd name="T89" fmla="*/ 70 w 70"/>
                    <a:gd name="T90" fmla="*/ 93 h 9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70" h="93">
                      <a:moveTo>
                        <a:pt x="58" y="35"/>
                      </a:moveTo>
                      <a:lnTo>
                        <a:pt x="64" y="35"/>
                      </a:lnTo>
                      <a:lnTo>
                        <a:pt x="64" y="41"/>
                      </a:lnTo>
                      <a:lnTo>
                        <a:pt x="70" y="52"/>
                      </a:lnTo>
                      <a:lnTo>
                        <a:pt x="64" y="58"/>
                      </a:lnTo>
                      <a:lnTo>
                        <a:pt x="64" y="52"/>
                      </a:lnTo>
                      <a:lnTo>
                        <a:pt x="58" y="52"/>
                      </a:lnTo>
                      <a:lnTo>
                        <a:pt x="58" y="64"/>
                      </a:lnTo>
                      <a:lnTo>
                        <a:pt x="46" y="64"/>
                      </a:lnTo>
                      <a:lnTo>
                        <a:pt x="46" y="76"/>
                      </a:lnTo>
                      <a:lnTo>
                        <a:pt x="35" y="81"/>
                      </a:lnTo>
                      <a:lnTo>
                        <a:pt x="12" y="93"/>
                      </a:lnTo>
                      <a:lnTo>
                        <a:pt x="12" y="87"/>
                      </a:lnTo>
                      <a:lnTo>
                        <a:pt x="17" y="76"/>
                      </a:lnTo>
                      <a:lnTo>
                        <a:pt x="12" y="58"/>
                      </a:lnTo>
                      <a:lnTo>
                        <a:pt x="12" y="52"/>
                      </a:lnTo>
                      <a:lnTo>
                        <a:pt x="6" y="41"/>
                      </a:lnTo>
                      <a:lnTo>
                        <a:pt x="0" y="23"/>
                      </a:lnTo>
                      <a:lnTo>
                        <a:pt x="0" y="12"/>
                      </a:lnTo>
                      <a:lnTo>
                        <a:pt x="17" y="6"/>
                      </a:lnTo>
                      <a:lnTo>
                        <a:pt x="23" y="6"/>
                      </a:lnTo>
                      <a:lnTo>
                        <a:pt x="29" y="6"/>
                      </a:lnTo>
                      <a:lnTo>
                        <a:pt x="35" y="0"/>
                      </a:lnTo>
                      <a:lnTo>
                        <a:pt x="35" y="6"/>
                      </a:lnTo>
                      <a:lnTo>
                        <a:pt x="35" y="18"/>
                      </a:lnTo>
                      <a:lnTo>
                        <a:pt x="41" y="12"/>
                      </a:lnTo>
                      <a:lnTo>
                        <a:pt x="46" y="29"/>
                      </a:lnTo>
                      <a:lnTo>
                        <a:pt x="52" y="29"/>
                      </a:lnTo>
                      <a:lnTo>
                        <a:pt x="58" y="35"/>
                      </a:lnTo>
                      <a:close/>
                    </a:path>
                  </a:pathLst>
                </a:custGeom>
                <a:solidFill>
                  <a:srgbClr val="5B9BD5"/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19" name="Freeform 18"/>
                <p:cNvSpPr>
                  <a:spLocks/>
                </p:cNvSpPr>
                <p:nvPr/>
              </p:nvSpPr>
              <p:spPr bwMode="auto">
                <a:xfrm>
                  <a:off x="7100589" y="665991"/>
                  <a:ext cx="239715" cy="460253"/>
                </a:xfrm>
                <a:custGeom>
                  <a:avLst/>
                  <a:gdLst>
                    <a:gd name="T0" fmla="*/ 35 w 151"/>
                    <a:gd name="T1" fmla="*/ 180 h 290"/>
                    <a:gd name="T2" fmla="*/ 35 w 151"/>
                    <a:gd name="T3" fmla="*/ 198 h 290"/>
                    <a:gd name="T4" fmla="*/ 41 w 151"/>
                    <a:gd name="T5" fmla="*/ 192 h 290"/>
                    <a:gd name="T6" fmla="*/ 58 w 151"/>
                    <a:gd name="T7" fmla="*/ 227 h 290"/>
                    <a:gd name="T8" fmla="*/ 58 w 151"/>
                    <a:gd name="T9" fmla="*/ 232 h 290"/>
                    <a:gd name="T10" fmla="*/ 58 w 151"/>
                    <a:gd name="T11" fmla="*/ 250 h 290"/>
                    <a:gd name="T12" fmla="*/ 64 w 151"/>
                    <a:gd name="T13" fmla="*/ 267 h 290"/>
                    <a:gd name="T14" fmla="*/ 70 w 151"/>
                    <a:gd name="T15" fmla="*/ 279 h 290"/>
                    <a:gd name="T16" fmla="*/ 70 w 151"/>
                    <a:gd name="T17" fmla="*/ 290 h 290"/>
                    <a:gd name="T18" fmla="*/ 87 w 151"/>
                    <a:gd name="T19" fmla="*/ 285 h 290"/>
                    <a:gd name="T20" fmla="*/ 93 w 151"/>
                    <a:gd name="T21" fmla="*/ 285 h 290"/>
                    <a:gd name="T22" fmla="*/ 99 w 151"/>
                    <a:gd name="T23" fmla="*/ 285 h 290"/>
                    <a:gd name="T24" fmla="*/ 116 w 151"/>
                    <a:gd name="T25" fmla="*/ 279 h 290"/>
                    <a:gd name="T26" fmla="*/ 134 w 151"/>
                    <a:gd name="T27" fmla="*/ 273 h 290"/>
                    <a:gd name="T28" fmla="*/ 140 w 151"/>
                    <a:gd name="T29" fmla="*/ 273 h 290"/>
                    <a:gd name="T30" fmla="*/ 122 w 151"/>
                    <a:gd name="T31" fmla="*/ 250 h 290"/>
                    <a:gd name="T32" fmla="*/ 128 w 151"/>
                    <a:gd name="T33" fmla="*/ 244 h 290"/>
                    <a:gd name="T34" fmla="*/ 128 w 151"/>
                    <a:gd name="T35" fmla="*/ 227 h 290"/>
                    <a:gd name="T36" fmla="*/ 122 w 151"/>
                    <a:gd name="T37" fmla="*/ 221 h 290"/>
                    <a:gd name="T38" fmla="*/ 122 w 151"/>
                    <a:gd name="T39" fmla="*/ 186 h 290"/>
                    <a:gd name="T40" fmla="*/ 116 w 151"/>
                    <a:gd name="T41" fmla="*/ 180 h 290"/>
                    <a:gd name="T42" fmla="*/ 122 w 151"/>
                    <a:gd name="T43" fmla="*/ 174 h 290"/>
                    <a:gd name="T44" fmla="*/ 122 w 151"/>
                    <a:gd name="T45" fmla="*/ 157 h 290"/>
                    <a:gd name="T46" fmla="*/ 128 w 151"/>
                    <a:gd name="T47" fmla="*/ 151 h 290"/>
                    <a:gd name="T48" fmla="*/ 128 w 151"/>
                    <a:gd name="T49" fmla="*/ 128 h 290"/>
                    <a:gd name="T50" fmla="*/ 128 w 151"/>
                    <a:gd name="T51" fmla="*/ 110 h 290"/>
                    <a:gd name="T52" fmla="*/ 122 w 151"/>
                    <a:gd name="T53" fmla="*/ 99 h 290"/>
                    <a:gd name="T54" fmla="*/ 128 w 151"/>
                    <a:gd name="T55" fmla="*/ 87 h 290"/>
                    <a:gd name="T56" fmla="*/ 140 w 151"/>
                    <a:gd name="T57" fmla="*/ 81 h 290"/>
                    <a:gd name="T58" fmla="*/ 140 w 151"/>
                    <a:gd name="T59" fmla="*/ 76 h 290"/>
                    <a:gd name="T60" fmla="*/ 151 w 151"/>
                    <a:gd name="T61" fmla="*/ 58 h 290"/>
                    <a:gd name="T62" fmla="*/ 140 w 151"/>
                    <a:gd name="T63" fmla="*/ 35 h 290"/>
                    <a:gd name="T64" fmla="*/ 145 w 151"/>
                    <a:gd name="T65" fmla="*/ 12 h 290"/>
                    <a:gd name="T66" fmla="*/ 145 w 151"/>
                    <a:gd name="T67" fmla="*/ 0 h 290"/>
                    <a:gd name="T68" fmla="*/ 111 w 151"/>
                    <a:gd name="T69" fmla="*/ 12 h 290"/>
                    <a:gd name="T70" fmla="*/ 58 w 151"/>
                    <a:gd name="T71" fmla="*/ 23 h 290"/>
                    <a:gd name="T72" fmla="*/ 12 w 151"/>
                    <a:gd name="T73" fmla="*/ 41 h 290"/>
                    <a:gd name="T74" fmla="*/ 6 w 151"/>
                    <a:gd name="T75" fmla="*/ 41 h 290"/>
                    <a:gd name="T76" fmla="*/ 0 w 151"/>
                    <a:gd name="T77" fmla="*/ 41 h 290"/>
                    <a:gd name="T78" fmla="*/ 0 w 151"/>
                    <a:gd name="T79" fmla="*/ 58 h 290"/>
                    <a:gd name="T80" fmla="*/ 12 w 151"/>
                    <a:gd name="T81" fmla="*/ 93 h 290"/>
                    <a:gd name="T82" fmla="*/ 18 w 151"/>
                    <a:gd name="T83" fmla="*/ 99 h 290"/>
                    <a:gd name="T84" fmla="*/ 23 w 151"/>
                    <a:gd name="T85" fmla="*/ 122 h 290"/>
                    <a:gd name="T86" fmla="*/ 18 w 151"/>
                    <a:gd name="T87" fmla="*/ 134 h 290"/>
                    <a:gd name="T88" fmla="*/ 18 w 151"/>
                    <a:gd name="T89" fmla="*/ 145 h 290"/>
                    <a:gd name="T90" fmla="*/ 29 w 151"/>
                    <a:gd name="T91" fmla="*/ 174 h 290"/>
                    <a:gd name="T92" fmla="*/ 35 w 151"/>
                    <a:gd name="T93" fmla="*/ 174 h 290"/>
                    <a:gd name="T94" fmla="*/ 35 w 151"/>
                    <a:gd name="T95" fmla="*/ 180 h 290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51"/>
                    <a:gd name="T145" fmla="*/ 0 h 290"/>
                    <a:gd name="T146" fmla="*/ 151 w 151"/>
                    <a:gd name="T147" fmla="*/ 290 h 290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51" h="290">
                      <a:moveTo>
                        <a:pt x="35" y="180"/>
                      </a:moveTo>
                      <a:lnTo>
                        <a:pt x="35" y="198"/>
                      </a:lnTo>
                      <a:lnTo>
                        <a:pt x="41" y="192"/>
                      </a:lnTo>
                      <a:lnTo>
                        <a:pt x="58" y="227"/>
                      </a:lnTo>
                      <a:lnTo>
                        <a:pt x="58" y="232"/>
                      </a:lnTo>
                      <a:lnTo>
                        <a:pt x="58" y="250"/>
                      </a:lnTo>
                      <a:lnTo>
                        <a:pt x="64" y="267"/>
                      </a:lnTo>
                      <a:lnTo>
                        <a:pt x="70" y="279"/>
                      </a:lnTo>
                      <a:lnTo>
                        <a:pt x="70" y="290"/>
                      </a:lnTo>
                      <a:lnTo>
                        <a:pt x="87" y="285"/>
                      </a:lnTo>
                      <a:lnTo>
                        <a:pt x="93" y="285"/>
                      </a:lnTo>
                      <a:lnTo>
                        <a:pt x="99" y="285"/>
                      </a:lnTo>
                      <a:lnTo>
                        <a:pt x="116" y="279"/>
                      </a:lnTo>
                      <a:lnTo>
                        <a:pt x="134" y="273"/>
                      </a:lnTo>
                      <a:lnTo>
                        <a:pt x="140" y="273"/>
                      </a:lnTo>
                      <a:lnTo>
                        <a:pt x="122" y="250"/>
                      </a:lnTo>
                      <a:lnTo>
                        <a:pt x="128" y="244"/>
                      </a:lnTo>
                      <a:lnTo>
                        <a:pt x="128" y="227"/>
                      </a:lnTo>
                      <a:lnTo>
                        <a:pt x="122" y="221"/>
                      </a:lnTo>
                      <a:lnTo>
                        <a:pt x="122" y="186"/>
                      </a:lnTo>
                      <a:lnTo>
                        <a:pt x="116" y="180"/>
                      </a:lnTo>
                      <a:lnTo>
                        <a:pt x="122" y="174"/>
                      </a:lnTo>
                      <a:lnTo>
                        <a:pt x="122" y="157"/>
                      </a:lnTo>
                      <a:lnTo>
                        <a:pt x="128" y="151"/>
                      </a:lnTo>
                      <a:lnTo>
                        <a:pt x="128" y="128"/>
                      </a:lnTo>
                      <a:lnTo>
                        <a:pt x="128" y="110"/>
                      </a:lnTo>
                      <a:lnTo>
                        <a:pt x="122" y="99"/>
                      </a:lnTo>
                      <a:lnTo>
                        <a:pt x="128" y="87"/>
                      </a:lnTo>
                      <a:lnTo>
                        <a:pt x="140" y="81"/>
                      </a:lnTo>
                      <a:lnTo>
                        <a:pt x="140" y="76"/>
                      </a:lnTo>
                      <a:lnTo>
                        <a:pt x="151" y="58"/>
                      </a:lnTo>
                      <a:lnTo>
                        <a:pt x="140" y="35"/>
                      </a:lnTo>
                      <a:lnTo>
                        <a:pt x="145" y="12"/>
                      </a:lnTo>
                      <a:lnTo>
                        <a:pt x="145" y="0"/>
                      </a:lnTo>
                      <a:lnTo>
                        <a:pt x="111" y="12"/>
                      </a:lnTo>
                      <a:lnTo>
                        <a:pt x="58" y="23"/>
                      </a:lnTo>
                      <a:lnTo>
                        <a:pt x="12" y="41"/>
                      </a:lnTo>
                      <a:lnTo>
                        <a:pt x="6" y="41"/>
                      </a:lnTo>
                      <a:lnTo>
                        <a:pt x="0" y="41"/>
                      </a:lnTo>
                      <a:lnTo>
                        <a:pt x="0" y="58"/>
                      </a:lnTo>
                      <a:lnTo>
                        <a:pt x="12" y="93"/>
                      </a:lnTo>
                      <a:lnTo>
                        <a:pt x="18" y="99"/>
                      </a:lnTo>
                      <a:lnTo>
                        <a:pt x="23" y="122"/>
                      </a:lnTo>
                      <a:lnTo>
                        <a:pt x="18" y="134"/>
                      </a:lnTo>
                      <a:lnTo>
                        <a:pt x="18" y="145"/>
                      </a:lnTo>
                      <a:lnTo>
                        <a:pt x="29" y="174"/>
                      </a:lnTo>
                      <a:lnTo>
                        <a:pt x="35" y="174"/>
                      </a:lnTo>
                      <a:lnTo>
                        <a:pt x="35" y="180"/>
                      </a:lnTo>
                      <a:close/>
                    </a:path>
                  </a:pathLst>
                </a:custGeom>
                <a:solidFill>
                  <a:srgbClr val="5B9BD5"/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20" name="Freeform 19"/>
                <p:cNvSpPr>
                  <a:spLocks/>
                </p:cNvSpPr>
                <p:nvPr/>
              </p:nvSpPr>
              <p:spPr bwMode="auto">
                <a:xfrm>
                  <a:off x="5810710" y="2822693"/>
                  <a:ext cx="1279526" cy="571347"/>
                </a:xfrm>
                <a:custGeom>
                  <a:avLst/>
                  <a:gdLst>
                    <a:gd name="T0" fmla="*/ 174 w 806"/>
                    <a:gd name="T1" fmla="*/ 162 h 360"/>
                    <a:gd name="T2" fmla="*/ 185 w 806"/>
                    <a:gd name="T3" fmla="*/ 162 h 360"/>
                    <a:gd name="T4" fmla="*/ 197 w 806"/>
                    <a:gd name="T5" fmla="*/ 139 h 360"/>
                    <a:gd name="T6" fmla="*/ 214 w 806"/>
                    <a:gd name="T7" fmla="*/ 128 h 360"/>
                    <a:gd name="T8" fmla="*/ 220 w 806"/>
                    <a:gd name="T9" fmla="*/ 104 h 360"/>
                    <a:gd name="T10" fmla="*/ 243 w 806"/>
                    <a:gd name="T11" fmla="*/ 99 h 360"/>
                    <a:gd name="T12" fmla="*/ 284 w 806"/>
                    <a:gd name="T13" fmla="*/ 93 h 360"/>
                    <a:gd name="T14" fmla="*/ 301 w 806"/>
                    <a:gd name="T15" fmla="*/ 93 h 360"/>
                    <a:gd name="T16" fmla="*/ 325 w 806"/>
                    <a:gd name="T17" fmla="*/ 87 h 360"/>
                    <a:gd name="T18" fmla="*/ 359 w 806"/>
                    <a:gd name="T19" fmla="*/ 81 h 360"/>
                    <a:gd name="T20" fmla="*/ 377 w 806"/>
                    <a:gd name="T21" fmla="*/ 81 h 360"/>
                    <a:gd name="T22" fmla="*/ 406 w 806"/>
                    <a:gd name="T23" fmla="*/ 75 h 360"/>
                    <a:gd name="T24" fmla="*/ 435 w 806"/>
                    <a:gd name="T25" fmla="*/ 70 h 360"/>
                    <a:gd name="T26" fmla="*/ 476 w 806"/>
                    <a:gd name="T27" fmla="*/ 64 h 360"/>
                    <a:gd name="T28" fmla="*/ 493 w 806"/>
                    <a:gd name="T29" fmla="*/ 58 h 360"/>
                    <a:gd name="T30" fmla="*/ 516 w 806"/>
                    <a:gd name="T31" fmla="*/ 52 h 360"/>
                    <a:gd name="T32" fmla="*/ 545 w 806"/>
                    <a:gd name="T33" fmla="*/ 46 h 360"/>
                    <a:gd name="T34" fmla="*/ 563 w 806"/>
                    <a:gd name="T35" fmla="*/ 41 h 360"/>
                    <a:gd name="T36" fmla="*/ 592 w 806"/>
                    <a:gd name="T37" fmla="*/ 35 h 360"/>
                    <a:gd name="T38" fmla="*/ 632 w 806"/>
                    <a:gd name="T39" fmla="*/ 29 h 360"/>
                    <a:gd name="T40" fmla="*/ 661 w 806"/>
                    <a:gd name="T41" fmla="*/ 23 h 360"/>
                    <a:gd name="T42" fmla="*/ 696 w 806"/>
                    <a:gd name="T43" fmla="*/ 12 h 360"/>
                    <a:gd name="T44" fmla="*/ 719 w 806"/>
                    <a:gd name="T45" fmla="*/ 6 h 360"/>
                    <a:gd name="T46" fmla="*/ 742 w 806"/>
                    <a:gd name="T47" fmla="*/ 6 h 360"/>
                    <a:gd name="T48" fmla="*/ 806 w 806"/>
                    <a:gd name="T49" fmla="*/ 139 h 360"/>
                    <a:gd name="T50" fmla="*/ 748 w 806"/>
                    <a:gd name="T51" fmla="*/ 197 h 360"/>
                    <a:gd name="T52" fmla="*/ 708 w 806"/>
                    <a:gd name="T53" fmla="*/ 226 h 360"/>
                    <a:gd name="T54" fmla="*/ 644 w 806"/>
                    <a:gd name="T55" fmla="*/ 273 h 360"/>
                    <a:gd name="T56" fmla="*/ 615 w 806"/>
                    <a:gd name="T57" fmla="*/ 336 h 360"/>
                    <a:gd name="T58" fmla="*/ 574 w 806"/>
                    <a:gd name="T59" fmla="*/ 348 h 360"/>
                    <a:gd name="T60" fmla="*/ 551 w 806"/>
                    <a:gd name="T61" fmla="*/ 348 h 360"/>
                    <a:gd name="T62" fmla="*/ 505 w 806"/>
                    <a:gd name="T63" fmla="*/ 319 h 360"/>
                    <a:gd name="T64" fmla="*/ 458 w 806"/>
                    <a:gd name="T65" fmla="*/ 290 h 360"/>
                    <a:gd name="T66" fmla="*/ 435 w 806"/>
                    <a:gd name="T67" fmla="*/ 273 h 360"/>
                    <a:gd name="T68" fmla="*/ 412 w 806"/>
                    <a:gd name="T69" fmla="*/ 273 h 360"/>
                    <a:gd name="T70" fmla="*/ 371 w 806"/>
                    <a:gd name="T71" fmla="*/ 278 h 360"/>
                    <a:gd name="T72" fmla="*/ 330 w 806"/>
                    <a:gd name="T73" fmla="*/ 290 h 360"/>
                    <a:gd name="T74" fmla="*/ 319 w 806"/>
                    <a:gd name="T75" fmla="*/ 267 h 360"/>
                    <a:gd name="T76" fmla="*/ 301 w 806"/>
                    <a:gd name="T77" fmla="*/ 255 h 360"/>
                    <a:gd name="T78" fmla="*/ 272 w 806"/>
                    <a:gd name="T79" fmla="*/ 255 h 360"/>
                    <a:gd name="T80" fmla="*/ 238 w 806"/>
                    <a:gd name="T81" fmla="*/ 261 h 360"/>
                    <a:gd name="T82" fmla="*/ 214 w 806"/>
                    <a:gd name="T83" fmla="*/ 267 h 360"/>
                    <a:gd name="T84" fmla="*/ 191 w 806"/>
                    <a:gd name="T85" fmla="*/ 267 h 360"/>
                    <a:gd name="T86" fmla="*/ 156 w 806"/>
                    <a:gd name="T87" fmla="*/ 278 h 360"/>
                    <a:gd name="T88" fmla="*/ 133 w 806"/>
                    <a:gd name="T89" fmla="*/ 290 h 360"/>
                    <a:gd name="T90" fmla="*/ 110 w 806"/>
                    <a:gd name="T91" fmla="*/ 302 h 360"/>
                    <a:gd name="T92" fmla="*/ 75 w 806"/>
                    <a:gd name="T93" fmla="*/ 307 h 360"/>
                    <a:gd name="T94" fmla="*/ 34 w 806"/>
                    <a:gd name="T95" fmla="*/ 313 h 360"/>
                    <a:gd name="T96" fmla="*/ 5 w 806"/>
                    <a:gd name="T97" fmla="*/ 319 h 360"/>
                    <a:gd name="T98" fmla="*/ 0 w 806"/>
                    <a:gd name="T99" fmla="*/ 296 h 360"/>
                    <a:gd name="T100" fmla="*/ 23 w 806"/>
                    <a:gd name="T101" fmla="*/ 284 h 360"/>
                    <a:gd name="T102" fmla="*/ 23 w 806"/>
                    <a:gd name="T103" fmla="*/ 261 h 360"/>
                    <a:gd name="T104" fmla="*/ 46 w 806"/>
                    <a:gd name="T105" fmla="*/ 249 h 360"/>
                    <a:gd name="T106" fmla="*/ 87 w 806"/>
                    <a:gd name="T107" fmla="*/ 226 h 360"/>
                    <a:gd name="T108" fmla="*/ 110 w 806"/>
                    <a:gd name="T109" fmla="*/ 209 h 360"/>
                    <a:gd name="T110" fmla="*/ 116 w 806"/>
                    <a:gd name="T111" fmla="*/ 191 h 360"/>
                    <a:gd name="T112" fmla="*/ 139 w 806"/>
                    <a:gd name="T113" fmla="*/ 180 h 360"/>
                    <a:gd name="T114" fmla="*/ 156 w 806"/>
                    <a:gd name="T115" fmla="*/ 180 h 360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806"/>
                    <a:gd name="T175" fmla="*/ 0 h 360"/>
                    <a:gd name="T176" fmla="*/ 806 w 806"/>
                    <a:gd name="T177" fmla="*/ 360 h 360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806" h="360">
                      <a:moveTo>
                        <a:pt x="156" y="174"/>
                      </a:moveTo>
                      <a:lnTo>
                        <a:pt x="162" y="168"/>
                      </a:lnTo>
                      <a:lnTo>
                        <a:pt x="174" y="162"/>
                      </a:lnTo>
                      <a:lnTo>
                        <a:pt x="174" y="157"/>
                      </a:lnTo>
                      <a:lnTo>
                        <a:pt x="180" y="162"/>
                      </a:lnTo>
                      <a:lnTo>
                        <a:pt x="185" y="162"/>
                      </a:lnTo>
                      <a:lnTo>
                        <a:pt x="191" y="162"/>
                      </a:lnTo>
                      <a:lnTo>
                        <a:pt x="197" y="145"/>
                      </a:lnTo>
                      <a:lnTo>
                        <a:pt x="197" y="139"/>
                      </a:lnTo>
                      <a:lnTo>
                        <a:pt x="203" y="133"/>
                      </a:lnTo>
                      <a:lnTo>
                        <a:pt x="214" y="133"/>
                      </a:lnTo>
                      <a:lnTo>
                        <a:pt x="214" y="128"/>
                      </a:lnTo>
                      <a:lnTo>
                        <a:pt x="214" y="110"/>
                      </a:lnTo>
                      <a:lnTo>
                        <a:pt x="214" y="104"/>
                      </a:lnTo>
                      <a:lnTo>
                        <a:pt x="220" y="104"/>
                      </a:lnTo>
                      <a:lnTo>
                        <a:pt x="232" y="99"/>
                      </a:lnTo>
                      <a:lnTo>
                        <a:pt x="238" y="99"/>
                      </a:lnTo>
                      <a:lnTo>
                        <a:pt x="243" y="99"/>
                      </a:lnTo>
                      <a:lnTo>
                        <a:pt x="249" y="99"/>
                      </a:lnTo>
                      <a:lnTo>
                        <a:pt x="272" y="93"/>
                      </a:lnTo>
                      <a:lnTo>
                        <a:pt x="284" y="93"/>
                      </a:lnTo>
                      <a:lnTo>
                        <a:pt x="290" y="93"/>
                      </a:lnTo>
                      <a:lnTo>
                        <a:pt x="296" y="93"/>
                      </a:lnTo>
                      <a:lnTo>
                        <a:pt x="301" y="93"/>
                      </a:lnTo>
                      <a:lnTo>
                        <a:pt x="313" y="87"/>
                      </a:lnTo>
                      <a:lnTo>
                        <a:pt x="319" y="87"/>
                      </a:lnTo>
                      <a:lnTo>
                        <a:pt x="325" y="87"/>
                      </a:lnTo>
                      <a:lnTo>
                        <a:pt x="330" y="87"/>
                      </a:lnTo>
                      <a:lnTo>
                        <a:pt x="342" y="87"/>
                      </a:lnTo>
                      <a:lnTo>
                        <a:pt x="359" y="81"/>
                      </a:lnTo>
                      <a:lnTo>
                        <a:pt x="365" y="81"/>
                      </a:lnTo>
                      <a:lnTo>
                        <a:pt x="371" y="81"/>
                      </a:lnTo>
                      <a:lnTo>
                        <a:pt x="377" y="81"/>
                      </a:lnTo>
                      <a:lnTo>
                        <a:pt x="394" y="75"/>
                      </a:lnTo>
                      <a:lnTo>
                        <a:pt x="400" y="75"/>
                      </a:lnTo>
                      <a:lnTo>
                        <a:pt x="406" y="75"/>
                      </a:lnTo>
                      <a:lnTo>
                        <a:pt x="412" y="75"/>
                      </a:lnTo>
                      <a:lnTo>
                        <a:pt x="423" y="70"/>
                      </a:lnTo>
                      <a:lnTo>
                        <a:pt x="435" y="70"/>
                      </a:lnTo>
                      <a:lnTo>
                        <a:pt x="441" y="70"/>
                      </a:lnTo>
                      <a:lnTo>
                        <a:pt x="446" y="64"/>
                      </a:lnTo>
                      <a:lnTo>
                        <a:pt x="476" y="64"/>
                      </a:lnTo>
                      <a:lnTo>
                        <a:pt x="476" y="58"/>
                      </a:lnTo>
                      <a:lnTo>
                        <a:pt x="481" y="58"/>
                      </a:lnTo>
                      <a:lnTo>
                        <a:pt x="493" y="58"/>
                      </a:lnTo>
                      <a:lnTo>
                        <a:pt x="505" y="52"/>
                      </a:lnTo>
                      <a:lnTo>
                        <a:pt x="510" y="52"/>
                      </a:lnTo>
                      <a:lnTo>
                        <a:pt x="516" y="52"/>
                      </a:lnTo>
                      <a:lnTo>
                        <a:pt x="522" y="52"/>
                      </a:lnTo>
                      <a:lnTo>
                        <a:pt x="528" y="52"/>
                      </a:lnTo>
                      <a:lnTo>
                        <a:pt x="545" y="46"/>
                      </a:lnTo>
                      <a:lnTo>
                        <a:pt x="551" y="46"/>
                      </a:lnTo>
                      <a:lnTo>
                        <a:pt x="557" y="46"/>
                      </a:lnTo>
                      <a:lnTo>
                        <a:pt x="563" y="41"/>
                      </a:lnTo>
                      <a:lnTo>
                        <a:pt x="568" y="41"/>
                      </a:lnTo>
                      <a:lnTo>
                        <a:pt x="586" y="35"/>
                      </a:lnTo>
                      <a:lnTo>
                        <a:pt x="592" y="35"/>
                      </a:lnTo>
                      <a:lnTo>
                        <a:pt x="615" y="29"/>
                      </a:lnTo>
                      <a:lnTo>
                        <a:pt x="626" y="29"/>
                      </a:lnTo>
                      <a:lnTo>
                        <a:pt x="632" y="29"/>
                      </a:lnTo>
                      <a:lnTo>
                        <a:pt x="644" y="23"/>
                      </a:lnTo>
                      <a:lnTo>
                        <a:pt x="650" y="23"/>
                      </a:lnTo>
                      <a:lnTo>
                        <a:pt x="661" y="23"/>
                      </a:lnTo>
                      <a:lnTo>
                        <a:pt x="679" y="17"/>
                      </a:lnTo>
                      <a:lnTo>
                        <a:pt x="684" y="17"/>
                      </a:lnTo>
                      <a:lnTo>
                        <a:pt x="696" y="12"/>
                      </a:lnTo>
                      <a:lnTo>
                        <a:pt x="702" y="12"/>
                      </a:lnTo>
                      <a:lnTo>
                        <a:pt x="708" y="12"/>
                      </a:lnTo>
                      <a:lnTo>
                        <a:pt x="719" y="6"/>
                      </a:lnTo>
                      <a:lnTo>
                        <a:pt x="731" y="6"/>
                      </a:lnTo>
                      <a:lnTo>
                        <a:pt x="742" y="0"/>
                      </a:lnTo>
                      <a:lnTo>
                        <a:pt x="742" y="6"/>
                      </a:lnTo>
                      <a:lnTo>
                        <a:pt x="760" y="35"/>
                      </a:lnTo>
                      <a:lnTo>
                        <a:pt x="801" y="99"/>
                      </a:lnTo>
                      <a:lnTo>
                        <a:pt x="806" y="139"/>
                      </a:lnTo>
                      <a:lnTo>
                        <a:pt x="789" y="151"/>
                      </a:lnTo>
                      <a:lnTo>
                        <a:pt x="766" y="168"/>
                      </a:lnTo>
                      <a:lnTo>
                        <a:pt x="748" y="197"/>
                      </a:lnTo>
                      <a:lnTo>
                        <a:pt x="731" y="232"/>
                      </a:lnTo>
                      <a:lnTo>
                        <a:pt x="719" y="226"/>
                      </a:lnTo>
                      <a:lnTo>
                        <a:pt x="708" y="226"/>
                      </a:lnTo>
                      <a:lnTo>
                        <a:pt x="673" y="238"/>
                      </a:lnTo>
                      <a:lnTo>
                        <a:pt x="667" y="249"/>
                      </a:lnTo>
                      <a:lnTo>
                        <a:pt x="644" y="273"/>
                      </a:lnTo>
                      <a:lnTo>
                        <a:pt x="626" y="290"/>
                      </a:lnTo>
                      <a:lnTo>
                        <a:pt x="626" y="296"/>
                      </a:lnTo>
                      <a:lnTo>
                        <a:pt x="615" y="336"/>
                      </a:lnTo>
                      <a:lnTo>
                        <a:pt x="615" y="342"/>
                      </a:lnTo>
                      <a:lnTo>
                        <a:pt x="597" y="342"/>
                      </a:lnTo>
                      <a:lnTo>
                        <a:pt x="574" y="348"/>
                      </a:lnTo>
                      <a:lnTo>
                        <a:pt x="563" y="360"/>
                      </a:lnTo>
                      <a:lnTo>
                        <a:pt x="557" y="354"/>
                      </a:lnTo>
                      <a:lnTo>
                        <a:pt x="551" y="348"/>
                      </a:lnTo>
                      <a:lnTo>
                        <a:pt x="522" y="331"/>
                      </a:lnTo>
                      <a:lnTo>
                        <a:pt x="510" y="319"/>
                      </a:lnTo>
                      <a:lnTo>
                        <a:pt x="505" y="319"/>
                      </a:lnTo>
                      <a:lnTo>
                        <a:pt x="481" y="302"/>
                      </a:lnTo>
                      <a:lnTo>
                        <a:pt x="470" y="296"/>
                      </a:lnTo>
                      <a:lnTo>
                        <a:pt x="458" y="290"/>
                      </a:lnTo>
                      <a:lnTo>
                        <a:pt x="458" y="284"/>
                      </a:lnTo>
                      <a:lnTo>
                        <a:pt x="441" y="278"/>
                      </a:lnTo>
                      <a:lnTo>
                        <a:pt x="435" y="273"/>
                      </a:lnTo>
                      <a:lnTo>
                        <a:pt x="429" y="273"/>
                      </a:lnTo>
                      <a:lnTo>
                        <a:pt x="417" y="273"/>
                      </a:lnTo>
                      <a:lnTo>
                        <a:pt x="412" y="273"/>
                      </a:lnTo>
                      <a:lnTo>
                        <a:pt x="406" y="278"/>
                      </a:lnTo>
                      <a:lnTo>
                        <a:pt x="377" y="278"/>
                      </a:lnTo>
                      <a:lnTo>
                        <a:pt x="371" y="278"/>
                      </a:lnTo>
                      <a:lnTo>
                        <a:pt x="359" y="284"/>
                      </a:lnTo>
                      <a:lnTo>
                        <a:pt x="354" y="284"/>
                      </a:lnTo>
                      <a:lnTo>
                        <a:pt x="330" y="290"/>
                      </a:lnTo>
                      <a:lnTo>
                        <a:pt x="330" y="273"/>
                      </a:lnTo>
                      <a:lnTo>
                        <a:pt x="325" y="267"/>
                      </a:lnTo>
                      <a:lnTo>
                        <a:pt x="319" y="267"/>
                      </a:lnTo>
                      <a:lnTo>
                        <a:pt x="313" y="261"/>
                      </a:lnTo>
                      <a:lnTo>
                        <a:pt x="307" y="261"/>
                      </a:lnTo>
                      <a:lnTo>
                        <a:pt x="301" y="255"/>
                      </a:lnTo>
                      <a:lnTo>
                        <a:pt x="290" y="255"/>
                      </a:lnTo>
                      <a:lnTo>
                        <a:pt x="284" y="255"/>
                      </a:lnTo>
                      <a:lnTo>
                        <a:pt x="272" y="255"/>
                      </a:lnTo>
                      <a:lnTo>
                        <a:pt x="272" y="261"/>
                      </a:lnTo>
                      <a:lnTo>
                        <a:pt x="261" y="261"/>
                      </a:lnTo>
                      <a:lnTo>
                        <a:pt x="238" y="261"/>
                      </a:lnTo>
                      <a:lnTo>
                        <a:pt x="232" y="261"/>
                      </a:lnTo>
                      <a:lnTo>
                        <a:pt x="226" y="267"/>
                      </a:lnTo>
                      <a:lnTo>
                        <a:pt x="214" y="267"/>
                      </a:lnTo>
                      <a:lnTo>
                        <a:pt x="209" y="267"/>
                      </a:lnTo>
                      <a:lnTo>
                        <a:pt x="197" y="267"/>
                      </a:lnTo>
                      <a:lnTo>
                        <a:pt x="191" y="267"/>
                      </a:lnTo>
                      <a:lnTo>
                        <a:pt x="180" y="273"/>
                      </a:lnTo>
                      <a:lnTo>
                        <a:pt x="168" y="273"/>
                      </a:lnTo>
                      <a:lnTo>
                        <a:pt x="156" y="278"/>
                      </a:lnTo>
                      <a:lnTo>
                        <a:pt x="150" y="284"/>
                      </a:lnTo>
                      <a:lnTo>
                        <a:pt x="145" y="290"/>
                      </a:lnTo>
                      <a:lnTo>
                        <a:pt x="133" y="290"/>
                      </a:lnTo>
                      <a:lnTo>
                        <a:pt x="133" y="296"/>
                      </a:lnTo>
                      <a:lnTo>
                        <a:pt x="121" y="296"/>
                      </a:lnTo>
                      <a:lnTo>
                        <a:pt x="110" y="302"/>
                      </a:lnTo>
                      <a:lnTo>
                        <a:pt x="104" y="302"/>
                      </a:lnTo>
                      <a:lnTo>
                        <a:pt x="92" y="307"/>
                      </a:lnTo>
                      <a:lnTo>
                        <a:pt x="75" y="307"/>
                      </a:lnTo>
                      <a:lnTo>
                        <a:pt x="69" y="307"/>
                      </a:lnTo>
                      <a:lnTo>
                        <a:pt x="63" y="313"/>
                      </a:lnTo>
                      <a:lnTo>
                        <a:pt x="34" y="313"/>
                      </a:lnTo>
                      <a:lnTo>
                        <a:pt x="29" y="313"/>
                      </a:lnTo>
                      <a:lnTo>
                        <a:pt x="17" y="319"/>
                      </a:lnTo>
                      <a:lnTo>
                        <a:pt x="5" y="319"/>
                      </a:lnTo>
                      <a:lnTo>
                        <a:pt x="0" y="319"/>
                      </a:lnTo>
                      <a:lnTo>
                        <a:pt x="0" y="302"/>
                      </a:lnTo>
                      <a:lnTo>
                        <a:pt x="0" y="296"/>
                      </a:lnTo>
                      <a:lnTo>
                        <a:pt x="0" y="290"/>
                      </a:lnTo>
                      <a:lnTo>
                        <a:pt x="17" y="290"/>
                      </a:lnTo>
                      <a:lnTo>
                        <a:pt x="23" y="284"/>
                      </a:lnTo>
                      <a:lnTo>
                        <a:pt x="23" y="273"/>
                      </a:lnTo>
                      <a:lnTo>
                        <a:pt x="23" y="267"/>
                      </a:lnTo>
                      <a:lnTo>
                        <a:pt x="23" y="261"/>
                      </a:lnTo>
                      <a:lnTo>
                        <a:pt x="29" y="261"/>
                      </a:lnTo>
                      <a:lnTo>
                        <a:pt x="34" y="255"/>
                      </a:lnTo>
                      <a:lnTo>
                        <a:pt x="46" y="249"/>
                      </a:lnTo>
                      <a:lnTo>
                        <a:pt x="52" y="244"/>
                      </a:lnTo>
                      <a:lnTo>
                        <a:pt x="69" y="244"/>
                      </a:lnTo>
                      <a:lnTo>
                        <a:pt x="87" y="226"/>
                      </a:lnTo>
                      <a:lnTo>
                        <a:pt x="98" y="215"/>
                      </a:lnTo>
                      <a:lnTo>
                        <a:pt x="110" y="215"/>
                      </a:lnTo>
                      <a:lnTo>
                        <a:pt x="110" y="209"/>
                      </a:lnTo>
                      <a:lnTo>
                        <a:pt x="116" y="203"/>
                      </a:lnTo>
                      <a:lnTo>
                        <a:pt x="116" y="197"/>
                      </a:lnTo>
                      <a:lnTo>
                        <a:pt x="116" y="191"/>
                      </a:lnTo>
                      <a:lnTo>
                        <a:pt x="127" y="186"/>
                      </a:lnTo>
                      <a:lnTo>
                        <a:pt x="139" y="174"/>
                      </a:lnTo>
                      <a:lnTo>
                        <a:pt x="139" y="180"/>
                      </a:lnTo>
                      <a:lnTo>
                        <a:pt x="139" y="186"/>
                      </a:lnTo>
                      <a:lnTo>
                        <a:pt x="150" y="186"/>
                      </a:lnTo>
                      <a:lnTo>
                        <a:pt x="156" y="180"/>
                      </a:lnTo>
                      <a:lnTo>
                        <a:pt x="156" y="174"/>
                      </a:lnTo>
                      <a:close/>
                    </a:path>
                  </a:pathLst>
                </a:custGeom>
                <a:solidFill>
                  <a:srgbClr val="FFC000">
                    <a:lumMod val="40000"/>
                    <a:lumOff val="6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21" name="Freeform 20"/>
                <p:cNvSpPr>
                  <a:spLocks/>
                </p:cNvSpPr>
                <p:nvPr/>
              </p:nvSpPr>
              <p:spPr bwMode="auto">
                <a:xfrm>
                  <a:off x="5229684" y="3355578"/>
                  <a:ext cx="571500" cy="903046"/>
                </a:xfrm>
                <a:custGeom>
                  <a:avLst/>
                  <a:gdLst>
                    <a:gd name="T0" fmla="*/ 23 w 360"/>
                    <a:gd name="T1" fmla="*/ 482 h 569"/>
                    <a:gd name="T2" fmla="*/ 29 w 360"/>
                    <a:gd name="T3" fmla="*/ 540 h 569"/>
                    <a:gd name="T4" fmla="*/ 46 w 360"/>
                    <a:gd name="T5" fmla="*/ 551 h 569"/>
                    <a:gd name="T6" fmla="*/ 58 w 360"/>
                    <a:gd name="T7" fmla="*/ 534 h 569"/>
                    <a:gd name="T8" fmla="*/ 75 w 360"/>
                    <a:gd name="T9" fmla="*/ 534 h 569"/>
                    <a:gd name="T10" fmla="*/ 133 w 360"/>
                    <a:gd name="T11" fmla="*/ 534 h 569"/>
                    <a:gd name="T12" fmla="*/ 104 w 360"/>
                    <a:gd name="T13" fmla="*/ 493 h 569"/>
                    <a:gd name="T14" fmla="*/ 145 w 360"/>
                    <a:gd name="T15" fmla="*/ 470 h 569"/>
                    <a:gd name="T16" fmla="*/ 186 w 360"/>
                    <a:gd name="T17" fmla="*/ 464 h 569"/>
                    <a:gd name="T18" fmla="*/ 209 w 360"/>
                    <a:gd name="T19" fmla="*/ 464 h 569"/>
                    <a:gd name="T20" fmla="*/ 238 w 360"/>
                    <a:gd name="T21" fmla="*/ 459 h 569"/>
                    <a:gd name="T22" fmla="*/ 255 w 360"/>
                    <a:gd name="T23" fmla="*/ 459 h 569"/>
                    <a:gd name="T24" fmla="*/ 313 w 360"/>
                    <a:gd name="T25" fmla="*/ 453 h 569"/>
                    <a:gd name="T26" fmla="*/ 360 w 360"/>
                    <a:gd name="T27" fmla="*/ 447 h 569"/>
                    <a:gd name="T28" fmla="*/ 348 w 360"/>
                    <a:gd name="T29" fmla="*/ 418 h 569"/>
                    <a:gd name="T30" fmla="*/ 348 w 360"/>
                    <a:gd name="T31" fmla="*/ 389 h 569"/>
                    <a:gd name="T32" fmla="*/ 337 w 360"/>
                    <a:gd name="T33" fmla="*/ 360 h 569"/>
                    <a:gd name="T34" fmla="*/ 337 w 360"/>
                    <a:gd name="T35" fmla="*/ 325 h 569"/>
                    <a:gd name="T36" fmla="*/ 348 w 360"/>
                    <a:gd name="T37" fmla="*/ 302 h 569"/>
                    <a:gd name="T38" fmla="*/ 337 w 360"/>
                    <a:gd name="T39" fmla="*/ 273 h 569"/>
                    <a:gd name="T40" fmla="*/ 325 w 360"/>
                    <a:gd name="T41" fmla="*/ 250 h 569"/>
                    <a:gd name="T42" fmla="*/ 313 w 360"/>
                    <a:gd name="T43" fmla="*/ 232 h 569"/>
                    <a:gd name="T44" fmla="*/ 308 w 360"/>
                    <a:gd name="T45" fmla="*/ 209 h 569"/>
                    <a:gd name="T46" fmla="*/ 296 w 360"/>
                    <a:gd name="T47" fmla="*/ 180 h 569"/>
                    <a:gd name="T48" fmla="*/ 296 w 360"/>
                    <a:gd name="T49" fmla="*/ 163 h 569"/>
                    <a:gd name="T50" fmla="*/ 284 w 360"/>
                    <a:gd name="T51" fmla="*/ 128 h 569"/>
                    <a:gd name="T52" fmla="*/ 279 w 360"/>
                    <a:gd name="T53" fmla="*/ 111 h 569"/>
                    <a:gd name="T54" fmla="*/ 273 w 360"/>
                    <a:gd name="T55" fmla="*/ 93 h 569"/>
                    <a:gd name="T56" fmla="*/ 267 w 360"/>
                    <a:gd name="T57" fmla="*/ 64 h 569"/>
                    <a:gd name="T58" fmla="*/ 255 w 360"/>
                    <a:gd name="T59" fmla="*/ 41 h 569"/>
                    <a:gd name="T60" fmla="*/ 250 w 360"/>
                    <a:gd name="T61" fmla="*/ 12 h 569"/>
                    <a:gd name="T62" fmla="*/ 220 w 360"/>
                    <a:gd name="T63" fmla="*/ 0 h 569"/>
                    <a:gd name="T64" fmla="*/ 180 w 360"/>
                    <a:gd name="T65" fmla="*/ 6 h 569"/>
                    <a:gd name="T66" fmla="*/ 133 w 360"/>
                    <a:gd name="T67" fmla="*/ 12 h 569"/>
                    <a:gd name="T68" fmla="*/ 93 w 360"/>
                    <a:gd name="T69" fmla="*/ 12 h 569"/>
                    <a:gd name="T70" fmla="*/ 52 w 360"/>
                    <a:gd name="T71" fmla="*/ 18 h 569"/>
                    <a:gd name="T72" fmla="*/ 0 w 360"/>
                    <a:gd name="T73" fmla="*/ 24 h 569"/>
                    <a:gd name="T74" fmla="*/ 12 w 360"/>
                    <a:gd name="T75" fmla="*/ 58 h 569"/>
                    <a:gd name="T76" fmla="*/ 12 w 360"/>
                    <a:gd name="T77" fmla="*/ 87 h 569"/>
                    <a:gd name="T78" fmla="*/ 12 w 360"/>
                    <a:gd name="T79" fmla="*/ 116 h 569"/>
                    <a:gd name="T80" fmla="*/ 12 w 360"/>
                    <a:gd name="T81" fmla="*/ 157 h 569"/>
                    <a:gd name="T82" fmla="*/ 12 w 360"/>
                    <a:gd name="T83" fmla="*/ 198 h 569"/>
                    <a:gd name="T84" fmla="*/ 12 w 360"/>
                    <a:gd name="T85" fmla="*/ 227 h 569"/>
                    <a:gd name="T86" fmla="*/ 12 w 360"/>
                    <a:gd name="T87" fmla="*/ 285 h 569"/>
                    <a:gd name="T88" fmla="*/ 12 w 360"/>
                    <a:gd name="T89" fmla="*/ 319 h 569"/>
                    <a:gd name="T90" fmla="*/ 6 w 360"/>
                    <a:gd name="T91" fmla="*/ 337 h 569"/>
                    <a:gd name="T92" fmla="*/ 6 w 360"/>
                    <a:gd name="T93" fmla="*/ 377 h 569"/>
                    <a:gd name="T94" fmla="*/ 12 w 360"/>
                    <a:gd name="T95" fmla="*/ 424 h 569"/>
                    <a:gd name="T96" fmla="*/ 17 w 360"/>
                    <a:gd name="T97" fmla="*/ 441 h 569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360"/>
                    <a:gd name="T148" fmla="*/ 0 h 569"/>
                    <a:gd name="T149" fmla="*/ 360 w 360"/>
                    <a:gd name="T150" fmla="*/ 569 h 569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360" h="569">
                      <a:moveTo>
                        <a:pt x="17" y="470"/>
                      </a:moveTo>
                      <a:lnTo>
                        <a:pt x="23" y="476"/>
                      </a:lnTo>
                      <a:lnTo>
                        <a:pt x="23" y="482"/>
                      </a:lnTo>
                      <a:lnTo>
                        <a:pt x="23" y="511"/>
                      </a:lnTo>
                      <a:lnTo>
                        <a:pt x="29" y="528"/>
                      </a:lnTo>
                      <a:lnTo>
                        <a:pt x="29" y="540"/>
                      </a:lnTo>
                      <a:lnTo>
                        <a:pt x="29" y="557"/>
                      </a:lnTo>
                      <a:lnTo>
                        <a:pt x="35" y="551"/>
                      </a:lnTo>
                      <a:lnTo>
                        <a:pt x="46" y="551"/>
                      </a:lnTo>
                      <a:lnTo>
                        <a:pt x="52" y="557"/>
                      </a:lnTo>
                      <a:lnTo>
                        <a:pt x="58" y="557"/>
                      </a:lnTo>
                      <a:lnTo>
                        <a:pt x="58" y="534"/>
                      </a:lnTo>
                      <a:lnTo>
                        <a:pt x="64" y="517"/>
                      </a:lnTo>
                      <a:lnTo>
                        <a:pt x="75" y="522"/>
                      </a:lnTo>
                      <a:lnTo>
                        <a:pt x="75" y="534"/>
                      </a:lnTo>
                      <a:lnTo>
                        <a:pt x="70" y="569"/>
                      </a:lnTo>
                      <a:lnTo>
                        <a:pt x="116" y="557"/>
                      </a:lnTo>
                      <a:lnTo>
                        <a:pt x="133" y="534"/>
                      </a:lnTo>
                      <a:lnTo>
                        <a:pt x="128" y="528"/>
                      </a:lnTo>
                      <a:lnTo>
                        <a:pt x="128" y="517"/>
                      </a:lnTo>
                      <a:lnTo>
                        <a:pt x="104" y="493"/>
                      </a:lnTo>
                      <a:lnTo>
                        <a:pt x="104" y="476"/>
                      </a:lnTo>
                      <a:lnTo>
                        <a:pt x="139" y="470"/>
                      </a:lnTo>
                      <a:lnTo>
                        <a:pt x="145" y="470"/>
                      </a:lnTo>
                      <a:lnTo>
                        <a:pt x="151" y="470"/>
                      </a:lnTo>
                      <a:lnTo>
                        <a:pt x="162" y="470"/>
                      </a:lnTo>
                      <a:lnTo>
                        <a:pt x="186" y="464"/>
                      </a:lnTo>
                      <a:lnTo>
                        <a:pt x="191" y="464"/>
                      </a:lnTo>
                      <a:lnTo>
                        <a:pt x="203" y="464"/>
                      </a:lnTo>
                      <a:lnTo>
                        <a:pt x="209" y="464"/>
                      </a:lnTo>
                      <a:lnTo>
                        <a:pt x="220" y="464"/>
                      </a:lnTo>
                      <a:lnTo>
                        <a:pt x="226" y="464"/>
                      </a:lnTo>
                      <a:lnTo>
                        <a:pt x="238" y="459"/>
                      </a:lnTo>
                      <a:lnTo>
                        <a:pt x="244" y="459"/>
                      </a:lnTo>
                      <a:lnTo>
                        <a:pt x="250" y="459"/>
                      </a:lnTo>
                      <a:lnTo>
                        <a:pt x="255" y="459"/>
                      </a:lnTo>
                      <a:lnTo>
                        <a:pt x="267" y="459"/>
                      </a:lnTo>
                      <a:lnTo>
                        <a:pt x="284" y="459"/>
                      </a:lnTo>
                      <a:lnTo>
                        <a:pt x="313" y="453"/>
                      </a:lnTo>
                      <a:lnTo>
                        <a:pt x="337" y="447"/>
                      </a:lnTo>
                      <a:lnTo>
                        <a:pt x="342" y="447"/>
                      </a:lnTo>
                      <a:lnTo>
                        <a:pt x="360" y="447"/>
                      </a:lnTo>
                      <a:lnTo>
                        <a:pt x="354" y="435"/>
                      </a:lnTo>
                      <a:lnTo>
                        <a:pt x="354" y="430"/>
                      </a:lnTo>
                      <a:lnTo>
                        <a:pt x="348" y="418"/>
                      </a:lnTo>
                      <a:lnTo>
                        <a:pt x="348" y="412"/>
                      </a:lnTo>
                      <a:lnTo>
                        <a:pt x="348" y="406"/>
                      </a:lnTo>
                      <a:lnTo>
                        <a:pt x="348" y="389"/>
                      </a:lnTo>
                      <a:lnTo>
                        <a:pt x="342" y="377"/>
                      </a:lnTo>
                      <a:lnTo>
                        <a:pt x="337" y="366"/>
                      </a:lnTo>
                      <a:lnTo>
                        <a:pt x="337" y="360"/>
                      </a:lnTo>
                      <a:lnTo>
                        <a:pt x="337" y="348"/>
                      </a:lnTo>
                      <a:lnTo>
                        <a:pt x="337" y="331"/>
                      </a:lnTo>
                      <a:lnTo>
                        <a:pt x="337" y="325"/>
                      </a:lnTo>
                      <a:lnTo>
                        <a:pt x="337" y="319"/>
                      </a:lnTo>
                      <a:lnTo>
                        <a:pt x="342" y="314"/>
                      </a:lnTo>
                      <a:lnTo>
                        <a:pt x="348" y="302"/>
                      </a:lnTo>
                      <a:lnTo>
                        <a:pt x="342" y="296"/>
                      </a:lnTo>
                      <a:lnTo>
                        <a:pt x="342" y="290"/>
                      </a:lnTo>
                      <a:lnTo>
                        <a:pt x="337" y="273"/>
                      </a:lnTo>
                      <a:lnTo>
                        <a:pt x="331" y="261"/>
                      </a:lnTo>
                      <a:lnTo>
                        <a:pt x="325" y="261"/>
                      </a:lnTo>
                      <a:lnTo>
                        <a:pt x="325" y="250"/>
                      </a:lnTo>
                      <a:lnTo>
                        <a:pt x="319" y="250"/>
                      </a:lnTo>
                      <a:lnTo>
                        <a:pt x="319" y="244"/>
                      </a:lnTo>
                      <a:lnTo>
                        <a:pt x="313" y="232"/>
                      </a:lnTo>
                      <a:lnTo>
                        <a:pt x="313" y="227"/>
                      </a:lnTo>
                      <a:lnTo>
                        <a:pt x="313" y="221"/>
                      </a:lnTo>
                      <a:lnTo>
                        <a:pt x="308" y="209"/>
                      </a:lnTo>
                      <a:lnTo>
                        <a:pt x="308" y="203"/>
                      </a:lnTo>
                      <a:lnTo>
                        <a:pt x="302" y="198"/>
                      </a:lnTo>
                      <a:lnTo>
                        <a:pt x="296" y="180"/>
                      </a:lnTo>
                      <a:lnTo>
                        <a:pt x="296" y="174"/>
                      </a:lnTo>
                      <a:lnTo>
                        <a:pt x="296" y="169"/>
                      </a:lnTo>
                      <a:lnTo>
                        <a:pt x="296" y="163"/>
                      </a:lnTo>
                      <a:lnTo>
                        <a:pt x="290" y="151"/>
                      </a:lnTo>
                      <a:lnTo>
                        <a:pt x="290" y="145"/>
                      </a:lnTo>
                      <a:lnTo>
                        <a:pt x="284" y="128"/>
                      </a:lnTo>
                      <a:lnTo>
                        <a:pt x="284" y="122"/>
                      </a:lnTo>
                      <a:lnTo>
                        <a:pt x="279" y="122"/>
                      </a:lnTo>
                      <a:lnTo>
                        <a:pt x="279" y="111"/>
                      </a:lnTo>
                      <a:lnTo>
                        <a:pt x="279" y="105"/>
                      </a:lnTo>
                      <a:lnTo>
                        <a:pt x="273" y="99"/>
                      </a:lnTo>
                      <a:lnTo>
                        <a:pt x="273" y="93"/>
                      </a:lnTo>
                      <a:lnTo>
                        <a:pt x="273" y="82"/>
                      </a:lnTo>
                      <a:lnTo>
                        <a:pt x="267" y="76"/>
                      </a:lnTo>
                      <a:lnTo>
                        <a:pt x="267" y="64"/>
                      </a:lnTo>
                      <a:lnTo>
                        <a:pt x="261" y="58"/>
                      </a:lnTo>
                      <a:lnTo>
                        <a:pt x="261" y="53"/>
                      </a:lnTo>
                      <a:lnTo>
                        <a:pt x="255" y="41"/>
                      </a:lnTo>
                      <a:lnTo>
                        <a:pt x="255" y="24"/>
                      </a:lnTo>
                      <a:lnTo>
                        <a:pt x="250" y="18"/>
                      </a:lnTo>
                      <a:lnTo>
                        <a:pt x="250" y="12"/>
                      </a:lnTo>
                      <a:lnTo>
                        <a:pt x="244" y="0"/>
                      </a:lnTo>
                      <a:lnTo>
                        <a:pt x="226" y="0"/>
                      </a:lnTo>
                      <a:lnTo>
                        <a:pt x="220" y="0"/>
                      </a:lnTo>
                      <a:lnTo>
                        <a:pt x="203" y="6"/>
                      </a:lnTo>
                      <a:lnTo>
                        <a:pt x="186" y="6"/>
                      </a:lnTo>
                      <a:lnTo>
                        <a:pt x="180" y="6"/>
                      </a:lnTo>
                      <a:lnTo>
                        <a:pt x="174" y="6"/>
                      </a:lnTo>
                      <a:lnTo>
                        <a:pt x="162" y="6"/>
                      </a:lnTo>
                      <a:lnTo>
                        <a:pt x="133" y="12"/>
                      </a:lnTo>
                      <a:lnTo>
                        <a:pt x="128" y="12"/>
                      </a:lnTo>
                      <a:lnTo>
                        <a:pt x="122" y="12"/>
                      </a:lnTo>
                      <a:lnTo>
                        <a:pt x="93" y="12"/>
                      </a:lnTo>
                      <a:lnTo>
                        <a:pt x="81" y="18"/>
                      </a:lnTo>
                      <a:lnTo>
                        <a:pt x="58" y="18"/>
                      </a:lnTo>
                      <a:lnTo>
                        <a:pt x="52" y="18"/>
                      </a:lnTo>
                      <a:lnTo>
                        <a:pt x="29" y="18"/>
                      </a:lnTo>
                      <a:lnTo>
                        <a:pt x="23" y="18"/>
                      </a:lnTo>
                      <a:lnTo>
                        <a:pt x="0" y="24"/>
                      </a:lnTo>
                      <a:lnTo>
                        <a:pt x="12" y="35"/>
                      </a:lnTo>
                      <a:lnTo>
                        <a:pt x="12" y="41"/>
                      </a:lnTo>
                      <a:lnTo>
                        <a:pt x="12" y="58"/>
                      </a:lnTo>
                      <a:lnTo>
                        <a:pt x="12" y="70"/>
                      </a:lnTo>
                      <a:lnTo>
                        <a:pt x="12" y="82"/>
                      </a:lnTo>
                      <a:lnTo>
                        <a:pt x="12" y="87"/>
                      </a:lnTo>
                      <a:lnTo>
                        <a:pt x="12" y="93"/>
                      </a:lnTo>
                      <a:lnTo>
                        <a:pt x="12" y="99"/>
                      </a:lnTo>
                      <a:lnTo>
                        <a:pt x="12" y="116"/>
                      </a:lnTo>
                      <a:lnTo>
                        <a:pt x="12" y="128"/>
                      </a:lnTo>
                      <a:lnTo>
                        <a:pt x="12" y="140"/>
                      </a:lnTo>
                      <a:lnTo>
                        <a:pt x="12" y="157"/>
                      </a:lnTo>
                      <a:lnTo>
                        <a:pt x="12" y="169"/>
                      </a:lnTo>
                      <a:lnTo>
                        <a:pt x="12" y="192"/>
                      </a:lnTo>
                      <a:lnTo>
                        <a:pt x="12" y="198"/>
                      </a:lnTo>
                      <a:lnTo>
                        <a:pt x="12" y="203"/>
                      </a:lnTo>
                      <a:lnTo>
                        <a:pt x="12" y="221"/>
                      </a:lnTo>
                      <a:lnTo>
                        <a:pt x="12" y="227"/>
                      </a:lnTo>
                      <a:lnTo>
                        <a:pt x="12" y="256"/>
                      </a:lnTo>
                      <a:lnTo>
                        <a:pt x="12" y="261"/>
                      </a:lnTo>
                      <a:lnTo>
                        <a:pt x="12" y="285"/>
                      </a:lnTo>
                      <a:lnTo>
                        <a:pt x="12" y="290"/>
                      </a:lnTo>
                      <a:lnTo>
                        <a:pt x="12" y="302"/>
                      </a:lnTo>
                      <a:lnTo>
                        <a:pt x="12" y="319"/>
                      </a:lnTo>
                      <a:lnTo>
                        <a:pt x="12" y="325"/>
                      </a:lnTo>
                      <a:lnTo>
                        <a:pt x="6" y="331"/>
                      </a:lnTo>
                      <a:lnTo>
                        <a:pt x="6" y="337"/>
                      </a:lnTo>
                      <a:lnTo>
                        <a:pt x="6" y="343"/>
                      </a:lnTo>
                      <a:lnTo>
                        <a:pt x="6" y="354"/>
                      </a:lnTo>
                      <a:lnTo>
                        <a:pt x="6" y="377"/>
                      </a:lnTo>
                      <a:lnTo>
                        <a:pt x="6" y="383"/>
                      </a:lnTo>
                      <a:lnTo>
                        <a:pt x="12" y="401"/>
                      </a:lnTo>
                      <a:lnTo>
                        <a:pt x="12" y="424"/>
                      </a:lnTo>
                      <a:lnTo>
                        <a:pt x="12" y="430"/>
                      </a:lnTo>
                      <a:lnTo>
                        <a:pt x="17" y="430"/>
                      </a:lnTo>
                      <a:lnTo>
                        <a:pt x="17" y="441"/>
                      </a:lnTo>
                      <a:lnTo>
                        <a:pt x="17" y="453"/>
                      </a:lnTo>
                      <a:lnTo>
                        <a:pt x="17" y="470"/>
                      </a:lnTo>
                      <a:close/>
                    </a:path>
                  </a:pathLst>
                </a:custGeom>
                <a:solidFill>
                  <a:srgbClr val="FFC000">
                    <a:lumMod val="40000"/>
                    <a:lumOff val="6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22" name="Freeform 21"/>
                <p:cNvSpPr>
                  <a:spLocks/>
                </p:cNvSpPr>
                <p:nvPr/>
              </p:nvSpPr>
              <p:spPr bwMode="auto">
                <a:xfrm>
                  <a:off x="5394785" y="4028872"/>
                  <a:ext cx="1336675" cy="1039534"/>
                </a:xfrm>
                <a:custGeom>
                  <a:avLst/>
                  <a:gdLst>
                    <a:gd name="T0" fmla="*/ 233 w 842"/>
                    <a:gd name="T1" fmla="*/ 151 h 655"/>
                    <a:gd name="T2" fmla="*/ 250 w 842"/>
                    <a:gd name="T3" fmla="*/ 174 h 655"/>
                    <a:gd name="T4" fmla="*/ 285 w 842"/>
                    <a:gd name="T5" fmla="*/ 162 h 655"/>
                    <a:gd name="T6" fmla="*/ 337 w 842"/>
                    <a:gd name="T7" fmla="*/ 133 h 655"/>
                    <a:gd name="T8" fmla="*/ 366 w 842"/>
                    <a:gd name="T9" fmla="*/ 116 h 655"/>
                    <a:gd name="T10" fmla="*/ 430 w 842"/>
                    <a:gd name="T11" fmla="*/ 156 h 655"/>
                    <a:gd name="T12" fmla="*/ 476 w 842"/>
                    <a:gd name="T13" fmla="*/ 197 h 655"/>
                    <a:gd name="T14" fmla="*/ 494 w 842"/>
                    <a:gd name="T15" fmla="*/ 203 h 655"/>
                    <a:gd name="T16" fmla="*/ 517 w 842"/>
                    <a:gd name="T17" fmla="*/ 244 h 655"/>
                    <a:gd name="T18" fmla="*/ 529 w 842"/>
                    <a:gd name="T19" fmla="*/ 284 h 655"/>
                    <a:gd name="T20" fmla="*/ 517 w 842"/>
                    <a:gd name="T21" fmla="*/ 325 h 655"/>
                    <a:gd name="T22" fmla="*/ 540 w 842"/>
                    <a:gd name="T23" fmla="*/ 377 h 655"/>
                    <a:gd name="T24" fmla="*/ 534 w 842"/>
                    <a:gd name="T25" fmla="*/ 342 h 655"/>
                    <a:gd name="T26" fmla="*/ 569 w 842"/>
                    <a:gd name="T27" fmla="*/ 342 h 655"/>
                    <a:gd name="T28" fmla="*/ 540 w 842"/>
                    <a:gd name="T29" fmla="*/ 389 h 655"/>
                    <a:gd name="T30" fmla="*/ 592 w 842"/>
                    <a:gd name="T31" fmla="*/ 458 h 655"/>
                    <a:gd name="T32" fmla="*/ 633 w 842"/>
                    <a:gd name="T33" fmla="*/ 499 h 655"/>
                    <a:gd name="T34" fmla="*/ 685 w 842"/>
                    <a:gd name="T35" fmla="*/ 557 h 655"/>
                    <a:gd name="T36" fmla="*/ 749 w 842"/>
                    <a:gd name="T37" fmla="*/ 615 h 655"/>
                    <a:gd name="T38" fmla="*/ 767 w 842"/>
                    <a:gd name="T39" fmla="*/ 638 h 655"/>
                    <a:gd name="T40" fmla="*/ 796 w 842"/>
                    <a:gd name="T41" fmla="*/ 626 h 655"/>
                    <a:gd name="T42" fmla="*/ 801 w 842"/>
                    <a:gd name="T43" fmla="*/ 621 h 655"/>
                    <a:gd name="T44" fmla="*/ 813 w 842"/>
                    <a:gd name="T45" fmla="*/ 644 h 655"/>
                    <a:gd name="T46" fmla="*/ 842 w 842"/>
                    <a:gd name="T47" fmla="*/ 597 h 655"/>
                    <a:gd name="T48" fmla="*/ 830 w 842"/>
                    <a:gd name="T49" fmla="*/ 603 h 655"/>
                    <a:gd name="T50" fmla="*/ 842 w 842"/>
                    <a:gd name="T51" fmla="*/ 551 h 655"/>
                    <a:gd name="T52" fmla="*/ 836 w 842"/>
                    <a:gd name="T53" fmla="*/ 481 h 655"/>
                    <a:gd name="T54" fmla="*/ 784 w 842"/>
                    <a:gd name="T55" fmla="*/ 342 h 655"/>
                    <a:gd name="T56" fmla="*/ 743 w 842"/>
                    <a:gd name="T57" fmla="*/ 238 h 655"/>
                    <a:gd name="T58" fmla="*/ 656 w 842"/>
                    <a:gd name="T59" fmla="*/ 116 h 655"/>
                    <a:gd name="T60" fmla="*/ 627 w 842"/>
                    <a:gd name="T61" fmla="*/ 52 h 655"/>
                    <a:gd name="T62" fmla="*/ 569 w 842"/>
                    <a:gd name="T63" fmla="*/ 0 h 655"/>
                    <a:gd name="T64" fmla="*/ 558 w 842"/>
                    <a:gd name="T65" fmla="*/ 52 h 655"/>
                    <a:gd name="T66" fmla="*/ 523 w 842"/>
                    <a:gd name="T67" fmla="*/ 35 h 655"/>
                    <a:gd name="T68" fmla="*/ 494 w 842"/>
                    <a:gd name="T69" fmla="*/ 35 h 655"/>
                    <a:gd name="T70" fmla="*/ 447 w 842"/>
                    <a:gd name="T71" fmla="*/ 40 h 655"/>
                    <a:gd name="T72" fmla="*/ 424 w 842"/>
                    <a:gd name="T73" fmla="*/ 40 h 655"/>
                    <a:gd name="T74" fmla="*/ 389 w 842"/>
                    <a:gd name="T75" fmla="*/ 46 h 655"/>
                    <a:gd name="T76" fmla="*/ 360 w 842"/>
                    <a:gd name="T77" fmla="*/ 46 h 655"/>
                    <a:gd name="T78" fmla="*/ 331 w 842"/>
                    <a:gd name="T79" fmla="*/ 46 h 655"/>
                    <a:gd name="T80" fmla="*/ 296 w 842"/>
                    <a:gd name="T81" fmla="*/ 52 h 655"/>
                    <a:gd name="T82" fmla="*/ 233 w 842"/>
                    <a:gd name="T83" fmla="*/ 23 h 655"/>
                    <a:gd name="T84" fmla="*/ 151 w 842"/>
                    <a:gd name="T85" fmla="*/ 35 h 655"/>
                    <a:gd name="T86" fmla="*/ 122 w 842"/>
                    <a:gd name="T87" fmla="*/ 40 h 655"/>
                    <a:gd name="T88" fmla="*/ 87 w 842"/>
                    <a:gd name="T89" fmla="*/ 40 h 655"/>
                    <a:gd name="T90" fmla="*/ 41 w 842"/>
                    <a:gd name="T91" fmla="*/ 46 h 655"/>
                    <a:gd name="T92" fmla="*/ 24 w 842"/>
                    <a:gd name="T93" fmla="*/ 93 h 655"/>
                    <a:gd name="T94" fmla="*/ 29 w 842"/>
                    <a:gd name="T95" fmla="*/ 127 h 655"/>
                    <a:gd name="T96" fmla="*/ 128 w 842"/>
                    <a:gd name="T97" fmla="*/ 110 h 655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842"/>
                    <a:gd name="T148" fmla="*/ 0 h 655"/>
                    <a:gd name="T149" fmla="*/ 842 w 842"/>
                    <a:gd name="T150" fmla="*/ 655 h 655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842" h="655">
                      <a:moveTo>
                        <a:pt x="169" y="116"/>
                      </a:moveTo>
                      <a:lnTo>
                        <a:pt x="209" y="133"/>
                      </a:lnTo>
                      <a:lnTo>
                        <a:pt x="221" y="145"/>
                      </a:lnTo>
                      <a:lnTo>
                        <a:pt x="233" y="151"/>
                      </a:lnTo>
                      <a:lnTo>
                        <a:pt x="238" y="174"/>
                      </a:lnTo>
                      <a:lnTo>
                        <a:pt x="233" y="156"/>
                      </a:lnTo>
                      <a:lnTo>
                        <a:pt x="238" y="180"/>
                      </a:lnTo>
                      <a:lnTo>
                        <a:pt x="250" y="174"/>
                      </a:lnTo>
                      <a:lnTo>
                        <a:pt x="262" y="180"/>
                      </a:lnTo>
                      <a:lnTo>
                        <a:pt x="262" y="168"/>
                      </a:lnTo>
                      <a:lnTo>
                        <a:pt x="273" y="168"/>
                      </a:lnTo>
                      <a:lnTo>
                        <a:pt x="285" y="162"/>
                      </a:lnTo>
                      <a:lnTo>
                        <a:pt x="285" y="168"/>
                      </a:lnTo>
                      <a:lnTo>
                        <a:pt x="320" y="139"/>
                      </a:lnTo>
                      <a:lnTo>
                        <a:pt x="331" y="139"/>
                      </a:lnTo>
                      <a:lnTo>
                        <a:pt x="337" y="133"/>
                      </a:lnTo>
                      <a:lnTo>
                        <a:pt x="331" y="127"/>
                      </a:lnTo>
                      <a:lnTo>
                        <a:pt x="343" y="116"/>
                      </a:lnTo>
                      <a:lnTo>
                        <a:pt x="360" y="116"/>
                      </a:lnTo>
                      <a:lnTo>
                        <a:pt x="366" y="116"/>
                      </a:lnTo>
                      <a:lnTo>
                        <a:pt x="372" y="116"/>
                      </a:lnTo>
                      <a:lnTo>
                        <a:pt x="407" y="133"/>
                      </a:lnTo>
                      <a:lnTo>
                        <a:pt x="412" y="145"/>
                      </a:lnTo>
                      <a:lnTo>
                        <a:pt x="430" y="156"/>
                      </a:lnTo>
                      <a:lnTo>
                        <a:pt x="442" y="174"/>
                      </a:lnTo>
                      <a:lnTo>
                        <a:pt x="453" y="180"/>
                      </a:lnTo>
                      <a:lnTo>
                        <a:pt x="465" y="191"/>
                      </a:lnTo>
                      <a:lnTo>
                        <a:pt x="476" y="197"/>
                      </a:lnTo>
                      <a:lnTo>
                        <a:pt x="476" y="209"/>
                      </a:lnTo>
                      <a:lnTo>
                        <a:pt x="482" y="209"/>
                      </a:lnTo>
                      <a:lnTo>
                        <a:pt x="482" y="203"/>
                      </a:lnTo>
                      <a:lnTo>
                        <a:pt x="494" y="203"/>
                      </a:lnTo>
                      <a:lnTo>
                        <a:pt x="505" y="209"/>
                      </a:lnTo>
                      <a:lnTo>
                        <a:pt x="511" y="220"/>
                      </a:lnTo>
                      <a:lnTo>
                        <a:pt x="523" y="232"/>
                      </a:lnTo>
                      <a:lnTo>
                        <a:pt x="517" y="244"/>
                      </a:lnTo>
                      <a:lnTo>
                        <a:pt x="523" y="249"/>
                      </a:lnTo>
                      <a:lnTo>
                        <a:pt x="517" y="249"/>
                      </a:lnTo>
                      <a:lnTo>
                        <a:pt x="523" y="255"/>
                      </a:lnTo>
                      <a:lnTo>
                        <a:pt x="529" y="284"/>
                      </a:lnTo>
                      <a:lnTo>
                        <a:pt x="523" y="307"/>
                      </a:lnTo>
                      <a:lnTo>
                        <a:pt x="523" y="313"/>
                      </a:lnTo>
                      <a:lnTo>
                        <a:pt x="523" y="319"/>
                      </a:lnTo>
                      <a:lnTo>
                        <a:pt x="517" y="325"/>
                      </a:lnTo>
                      <a:lnTo>
                        <a:pt x="523" y="348"/>
                      </a:lnTo>
                      <a:lnTo>
                        <a:pt x="534" y="365"/>
                      </a:lnTo>
                      <a:lnTo>
                        <a:pt x="534" y="377"/>
                      </a:lnTo>
                      <a:lnTo>
                        <a:pt x="540" y="377"/>
                      </a:lnTo>
                      <a:lnTo>
                        <a:pt x="546" y="360"/>
                      </a:lnTo>
                      <a:lnTo>
                        <a:pt x="546" y="348"/>
                      </a:lnTo>
                      <a:lnTo>
                        <a:pt x="546" y="342"/>
                      </a:lnTo>
                      <a:lnTo>
                        <a:pt x="534" y="342"/>
                      </a:lnTo>
                      <a:lnTo>
                        <a:pt x="540" y="336"/>
                      </a:lnTo>
                      <a:lnTo>
                        <a:pt x="558" y="348"/>
                      </a:lnTo>
                      <a:lnTo>
                        <a:pt x="558" y="342"/>
                      </a:lnTo>
                      <a:lnTo>
                        <a:pt x="569" y="342"/>
                      </a:lnTo>
                      <a:lnTo>
                        <a:pt x="558" y="371"/>
                      </a:lnTo>
                      <a:lnTo>
                        <a:pt x="552" y="377"/>
                      </a:lnTo>
                      <a:lnTo>
                        <a:pt x="552" y="383"/>
                      </a:lnTo>
                      <a:lnTo>
                        <a:pt x="540" y="389"/>
                      </a:lnTo>
                      <a:lnTo>
                        <a:pt x="552" y="400"/>
                      </a:lnTo>
                      <a:lnTo>
                        <a:pt x="563" y="418"/>
                      </a:lnTo>
                      <a:lnTo>
                        <a:pt x="587" y="452"/>
                      </a:lnTo>
                      <a:lnTo>
                        <a:pt x="592" y="458"/>
                      </a:lnTo>
                      <a:lnTo>
                        <a:pt x="598" y="464"/>
                      </a:lnTo>
                      <a:lnTo>
                        <a:pt x="616" y="499"/>
                      </a:lnTo>
                      <a:lnTo>
                        <a:pt x="621" y="505"/>
                      </a:lnTo>
                      <a:lnTo>
                        <a:pt x="633" y="499"/>
                      </a:lnTo>
                      <a:lnTo>
                        <a:pt x="650" y="510"/>
                      </a:lnTo>
                      <a:lnTo>
                        <a:pt x="662" y="534"/>
                      </a:lnTo>
                      <a:lnTo>
                        <a:pt x="679" y="563"/>
                      </a:lnTo>
                      <a:lnTo>
                        <a:pt x="685" y="557"/>
                      </a:lnTo>
                      <a:lnTo>
                        <a:pt x="703" y="568"/>
                      </a:lnTo>
                      <a:lnTo>
                        <a:pt x="708" y="568"/>
                      </a:lnTo>
                      <a:lnTo>
                        <a:pt x="732" y="586"/>
                      </a:lnTo>
                      <a:lnTo>
                        <a:pt x="749" y="615"/>
                      </a:lnTo>
                      <a:lnTo>
                        <a:pt x="743" y="615"/>
                      </a:lnTo>
                      <a:lnTo>
                        <a:pt x="743" y="626"/>
                      </a:lnTo>
                      <a:lnTo>
                        <a:pt x="755" y="638"/>
                      </a:lnTo>
                      <a:lnTo>
                        <a:pt x="767" y="638"/>
                      </a:lnTo>
                      <a:lnTo>
                        <a:pt x="778" y="626"/>
                      </a:lnTo>
                      <a:lnTo>
                        <a:pt x="784" y="626"/>
                      </a:lnTo>
                      <a:lnTo>
                        <a:pt x="784" y="632"/>
                      </a:lnTo>
                      <a:lnTo>
                        <a:pt x="796" y="626"/>
                      </a:lnTo>
                      <a:lnTo>
                        <a:pt x="796" y="644"/>
                      </a:lnTo>
                      <a:lnTo>
                        <a:pt x="807" y="644"/>
                      </a:lnTo>
                      <a:lnTo>
                        <a:pt x="801" y="626"/>
                      </a:lnTo>
                      <a:lnTo>
                        <a:pt x="801" y="621"/>
                      </a:lnTo>
                      <a:lnTo>
                        <a:pt x="807" y="621"/>
                      </a:lnTo>
                      <a:lnTo>
                        <a:pt x="819" y="615"/>
                      </a:lnTo>
                      <a:lnTo>
                        <a:pt x="819" y="638"/>
                      </a:lnTo>
                      <a:lnTo>
                        <a:pt x="813" y="644"/>
                      </a:lnTo>
                      <a:lnTo>
                        <a:pt x="807" y="655"/>
                      </a:lnTo>
                      <a:lnTo>
                        <a:pt x="813" y="650"/>
                      </a:lnTo>
                      <a:lnTo>
                        <a:pt x="830" y="626"/>
                      </a:lnTo>
                      <a:lnTo>
                        <a:pt x="842" y="597"/>
                      </a:lnTo>
                      <a:lnTo>
                        <a:pt x="842" y="580"/>
                      </a:lnTo>
                      <a:lnTo>
                        <a:pt x="842" y="574"/>
                      </a:lnTo>
                      <a:lnTo>
                        <a:pt x="836" y="597"/>
                      </a:lnTo>
                      <a:lnTo>
                        <a:pt x="830" y="603"/>
                      </a:lnTo>
                      <a:lnTo>
                        <a:pt x="830" y="597"/>
                      </a:lnTo>
                      <a:lnTo>
                        <a:pt x="825" y="580"/>
                      </a:lnTo>
                      <a:lnTo>
                        <a:pt x="830" y="557"/>
                      </a:lnTo>
                      <a:lnTo>
                        <a:pt x="842" y="551"/>
                      </a:lnTo>
                      <a:lnTo>
                        <a:pt x="842" y="557"/>
                      </a:lnTo>
                      <a:lnTo>
                        <a:pt x="842" y="522"/>
                      </a:lnTo>
                      <a:lnTo>
                        <a:pt x="842" y="516"/>
                      </a:lnTo>
                      <a:lnTo>
                        <a:pt x="836" y="481"/>
                      </a:lnTo>
                      <a:lnTo>
                        <a:pt x="830" y="423"/>
                      </a:lnTo>
                      <a:lnTo>
                        <a:pt x="825" y="406"/>
                      </a:lnTo>
                      <a:lnTo>
                        <a:pt x="807" y="377"/>
                      </a:lnTo>
                      <a:lnTo>
                        <a:pt x="784" y="342"/>
                      </a:lnTo>
                      <a:lnTo>
                        <a:pt x="767" y="313"/>
                      </a:lnTo>
                      <a:lnTo>
                        <a:pt x="749" y="284"/>
                      </a:lnTo>
                      <a:lnTo>
                        <a:pt x="743" y="261"/>
                      </a:lnTo>
                      <a:lnTo>
                        <a:pt x="743" y="238"/>
                      </a:lnTo>
                      <a:lnTo>
                        <a:pt x="720" y="209"/>
                      </a:lnTo>
                      <a:lnTo>
                        <a:pt x="685" y="168"/>
                      </a:lnTo>
                      <a:lnTo>
                        <a:pt x="668" y="145"/>
                      </a:lnTo>
                      <a:lnTo>
                        <a:pt x="656" y="116"/>
                      </a:lnTo>
                      <a:lnTo>
                        <a:pt x="650" y="116"/>
                      </a:lnTo>
                      <a:lnTo>
                        <a:pt x="650" y="110"/>
                      </a:lnTo>
                      <a:lnTo>
                        <a:pt x="645" y="93"/>
                      </a:lnTo>
                      <a:lnTo>
                        <a:pt x="627" y="52"/>
                      </a:lnTo>
                      <a:lnTo>
                        <a:pt x="616" y="29"/>
                      </a:lnTo>
                      <a:lnTo>
                        <a:pt x="610" y="6"/>
                      </a:lnTo>
                      <a:lnTo>
                        <a:pt x="581" y="6"/>
                      </a:lnTo>
                      <a:lnTo>
                        <a:pt x="569" y="0"/>
                      </a:lnTo>
                      <a:lnTo>
                        <a:pt x="563" y="0"/>
                      </a:lnTo>
                      <a:lnTo>
                        <a:pt x="552" y="6"/>
                      </a:lnTo>
                      <a:lnTo>
                        <a:pt x="558" y="35"/>
                      </a:lnTo>
                      <a:lnTo>
                        <a:pt x="558" y="52"/>
                      </a:lnTo>
                      <a:lnTo>
                        <a:pt x="546" y="52"/>
                      </a:lnTo>
                      <a:lnTo>
                        <a:pt x="540" y="40"/>
                      </a:lnTo>
                      <a:lnTo>
                        <a:pt x="534" y="35"/>
                      </a:lnTo>
                      <a:lnTo>
                        <a:pt x="523" y="35"/>
                      </a:lnTo>
                      <a:lnTo>
                        <a:pt x="517" y="35"/>
                      </a:lnTo>
                      <a:lnTo>
                        <a:pt x="511" y="35"/>
                      </a:lnTo>
                      <a:lnTo>
                        <a:pt x="500" y="35"/>
                      </a:lnTo>
                      <a:lnTo>
                        <a:pt x="494" y="35"/>
                      </a:lnTo>
                      <a:lnTo>
                        <a:pt x="488" y="35"/>
                      </a:lnTo>
                      <a:lnTo>
                        <a:pt x="482" y="35"/>
                      </a:lnTo>
                      <a:lnTo>
                        <a:pt x="471" y="35"/>
                      </a:lnTo>
                      <a:lnTo>
                        <a:pt x="447" y="40"/>
                      </a:lnTo>
                      <a:lnTo>
                        <a:pt x="442" y="40"/>
                      </a:lnTo>
                      <a:lnTo>
                        <a:pt x="436" y="40"/>
                      </a:lnTo>
                      <a:lnTo>
                        <a:pt x="430" y="40"/>
                      </a:lnTo>
                      <a:lnTo>
                        <a:pt x="424" y="40"/>
                      </a:lnTo>
                      <a:lnTo>
                        <a:pt x="418" y="40"/>
                      </a:lnTo>
                      <a:lnTo>
                        <a:pt x="407" y="40"/>
                      </a:lnTo>
                      <a:lnTo>
                        <a:pt x="395" y="46"/>
                      </a:lnTo>
                      <a:lnTo>
                        <a:pt x="389" y="46"/>
                      </a:lnTo>
                      <a:lnTo>
                        <a:pt x="383" y="46"/>
                      </a:lnTo>
                      <a:lnTo>
                        <a:pt x="372" y="46"/>
                      </a:lnTo>
                      <a:lnTo>
                        <a:pt x="366" y="46"/>
                      </a:lnTo>
                      <a:lnTo>
                        <a:pt x="360" y="46"/>
                      </a:lnTo>
                      <a:lnTo>
                        <a:pt x="354" y="46"/>
                      </a:lnTo>
                      <a:lnTo>
                        <a:pt x="349" y="46"/>
                      </a:lnTo>
                      <a:lnTo>
                        <a:pt x="337" y="46"/>
                      </a:lnTo>
                      <a:lnTo>
                        <a:pt x="331" y="46"/>
                      </a:lnTo>
                      <a:lnTo>
                        <a:pt x="325" y="46"/>
                      </a:lnTo>
                      <a:lnTo>
                        <a:pt x="320" y="52"/>
                      </a:lnTo>
                      <a:lnTo>
                        <a:pt x="314" y="52"/>
                      </a:lnTo>
                      <a:lnTo>
                        <a:pt x="296" y="52"/>
                      </a:lnTo>
                      <a:lnTo>
                        <a:pt x="273" y="52"/>
                      </a:lnTo>
                      <a:lnTo>
                        <a:pt x="256" y="23"/>
                      </a:lnTo>
                      <a:lnTo>
                        <a:pt x="238" y="23"/>
                      </a:lnTo>
                      <a:lnTo>
                        <a:pt x="233" y="23"/>
                      </a:lnTo>
                      <a:lnTo>
                        <a:pt x="209" y="29"/>
                      </a:lnTo>
                      <a:lnTo>
                        <a:pt x="180" y="35"/>
                      </a:lnTo>
                      <a:lnTo>
                        <a:pt x="163" y="35"/>
                      </a:lnTo>
                      <a:lnTo>
                        <a:pt x="151" y="35"/>
                      </a:lnTo>
                      <a:lnTo>
                        <a:pt x="146" y="35"/>
                      </a:lnTo>
                      <a:lnTo>
                        <a:pt x="140" y="35"/>
                      </a:lnTo>
                      <a:lnTo>
                        <a:pt x="134" y="35"/>
                      </a:lnTo>
                      <a:lnTo>
                        <a:pt x="122" y="40"/>
                      </a:lnTo>
                      <a:lnTo>
                        <a:pt x="116" y="40"/>
                      </a:lnTo>
                      <a:lnTo>
                        <a:pt x="105" y="40"/>
                      </a:lnTo>
                      <a:lnTo>
                        <a:pt x="99" y="40"/>
                      </a:lnTo>
                      <a:lnTo>
                        <a:pt x="87" y="40"/>
                      </a:lnTo>
                      <a:lnTo>
                        <a:pt x="82" y="40"/>
                      </a:lnTo>
                      <a:lnTo>
                        <a:pt x="58" y="46"/>
                      </a:lnTo>
                      <a:lnTo>
                        <a:pt x="47" y="46"/>
                      </a:lnTo>
                      <a:lnTo>
                        <a:pt x="41" y="46"/>
                      </a:lnTo>
                      <a:lnTo>
                        <a:pt x="35" y="46"/>
                      </a:lnTo>
                      <a:lnTo>
                        <a:pt x="0" y="52"/>
                      </a:lnTo>
                      <a:lnTo>
                        <a:pt x="0" y="69"/>
                      </a:lnTo>
                      <a:lnTo>
                        <a:pt x="24" y="93"/>
                      </a:lnTo>
                      <a:lnTo>
                        <a:pt x="24" y="104"/>
                      </a:lnTo>
                      <a:lnTo>
                        <a:pt x="29" y="110"/>
                      </a:lnTo>
                      <a:lnTo>
                        <a:pt x="12" y="133"/>
                      </a:lnTo>
                      <a:lnTo>
                        <a:pt x="29" y="127"/>
                      </a:lnTo>
                      <a:lnTo>
                        <a:pt x="82" y="116"/>
                      </a:lnTo>
                      <a:lnTo>
                        <a:pt x="87" y="116"/>
                      </a:lnTo>
                      <a:lnTo>
                        <a:pt x="116" y="110"/>
                      </a:lnTo>
                      <a:lnTo>
                        <a:pt x="128" y="110"/>
                      </a:lnTo>
                      <a:lnTo>
                        <a:pt x="169" y="116"/>
                      </a:lnTo>
                      <a:close/>
                    </a:path>
                  </a:pathLst>
                </a:custGeom>
                <a:solidFill>
                  <a:srgbClr val="FFC000">
                    <a:lumMod val="40000"/>
                    <a:lumOff val="6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23" name="Freeform 22"/>
                <p:cNvSpPr>
                  <a:spLocks/>
                </p:cNvSpPr>
                <p:nvPr/>
              </p:nvSpPr>
              <p:spPr bwMode="auto">
                <a:xfrm>
                  <a:off x="6283325" y="4694569"/>
                  <a:ext cx="82550" cy="55548"/>
                </a:xfrm>
                <a:custGeom>
                  <a:avLst/>
                  <a:gdLst>
                    <a:gd name="T0" fmla="*/ 0 w 52"/>
                    <a:gd name="T1" fmla="*/ 35 h 35"/>
                    <a:gd name="T2" fmla="*/ 29 w 52"/>
                    <a:gd name="T3" fmla="*/ 24 h 35"/>
                    <a:gd name="T4" fmla="*/ 29 w 52"/>
                    <a:gd name="T5" fmla="*/ 18 h 35"/>
                    <a:gd name="T6" fmla="*/ 41 w 52"/>
                    <a:gd name="T7" fmla="*/ 18 h 35"/>
                    <a:gd name="T8" fmla="*/ 52 w 52"/>
                    <a:gd name="T9" fmla="*/ 12 h 35"/>
                    <a:gd name="T10" fmla="*/ 41 w 52"/>
                    <a:gd name="T11" fmla="*/ 6 h 35"/>
                    <a:gd name="T12" fmla="*/ 29 w 52"/>
                    <a:gd name="T13" fmla="*/ 0 h 35"/>
                    <a:gd name="T14" fmla="*/ 29 w 52"/>
                    <a:gd name="T15" fmla="*/ 6 h 35"/>
                    <a:gd name="T16" fmla="*/ 29 w 52"/>
                    <a:gd name="T17" fmla="*/ 12 h 35"/>
                    <a:gd name="T18" fmla="*/ 17 w 52"/>
                    <a:gd name="T19" fmla="*/ 6 h 35"/>
                    <a:gd name="T20" fmla="*/ 6 w 52"/>
                    <a:gd name="T21" fmla="*/ 18 h 35"/>
                    <a:gd name="T22" fmla="*/ 6 w 52"/>
                    <a:gd name="T23" fmla="*/ 29 h 35"/>
                    <a:gd name="T24" fmla="*/ 0 w 52"/>
                    <a:gd name="T25" fmla="*/ 35 h 3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52"/>
                    <a:gd name="T40" fmla="*/ 0 h 35"/>
                    <a:gd name="T41" fmla="*/ 52 w 52"/>
                    <a:gd name="T42" fmla="*/ 35 h 3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52" h="35">
                      <a:moveTo>
                        <a:pt x="0" y="35"/>
                      </a:moveTo>
                      <a:lnTo>
                        <a:pt x="29" y="24"/>
                      </a:lnTo>
                      <a:lnTo>
                        <a:pt x="29" y="18"/>
                      </a:lnTo>
                      <a:lnTo>
                        <a:pt x="41" y="18"/>
                      </a:lnTo>
                      <a:lnTo>
                        <a:pt x="52" y="12"/>
                      </a:lnTo>
                      <a:lnTo>
                        <a:pt x="41" y="6"/>
                      </a:lnTo>
                      <a:lnTo>
                        <a:pt x="29" y="0"/>
                      </a:lnTo>
                      <a:lnTo>
                        <a:pt x="29" y="6"/>
                      </a:lnTo>
                      <a:lnTo>
                        <a:pt x="29" y="12"/>
                      </a:lnTo>
                      <a:lnTo>
                        <a:pt x="17" y="6"/>
                      </a:lnTo>
                      <a:lnTo>
                        <a:pt x="6" y="18"/>
                      </a:lnTo>
                      <a:lnTo>
                        <a:pt x="6" y="29"/>
                      </a:lnTo>
                      <a:lnTo>
                        <a:pt x="0" y="35"/>
                      </a:lnTo>
                      <a:close/>
                    </a:path>
                  </a:pathLst>
                </a:custGeom>
                <a:grpFill/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24" name="Freeform 23"/>
                <p:cNvSpPr>
                  <a:spLocks/>
                </p:cNvSpPr>
                <p:nvPr/>
              </p:nvSpPr>
              <p:spPr bwMode="auto">
                <a:xfrm>
                  <a:off x="6394450" y="4677111"/>
                  <a:ext cx="36513" cy="26980"/>
                </a:xfrm>
                <a:custGeom>
                  <a:avLst/>
                  <a:gdLst>
                    <a:gd name="T0" fmla="*/ 0 w 23"/>
                    <a:gd name="T1" fmla="*/ 17 h 17"/>
                    <a:gd name="T2" fmla="*/ 23 w 23"/>
                    <a:gd name="T3" fmla="*/ 0 h 17"/>
                    <a:gd name="T4" fmla="*/ 11 w 23"/>
                    <a:gd name="T5" fmla="*/ 6 h 17"/>
                    <a:gd name="T6" fmla="*/ 0 w 23"/>
                    <a:gd name="T7" fmla="*/ 17 h 1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3"/>
                    <a:gd name="T13" fmla="*/ 0 h 17"/>
                    <a:gd name="T14" fmla="*/ 23 w 23"/>
                    <a:gd name="T15" fmla="*/ 17 h 1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3" h="17">
                      <a:moveTo>
                        <a:pt x="0" y="17"/>
                      </a:moveTo>
                      <a:lnTo>
                        <a:pt x="23" y="0"/>
                      </a:lnTo>
                      <a:lnTo>
                        <a:pt x="11" y="6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25" name="Freeform 24"/>
                <p:cNvSpPr>
                  <a:spLocks/>
                </p:cNvSpPr>
                <p:nvPr/>
              </p:nvSpPr>
              <p:spPr bwMode="auto">
                <a:xfrm>
                  <a:off x="6440488" y="4667589"/>
                  <a:ext cx="9525" cy="9522"/>
                </a:xfrm>
                <a:custGeom>
                  <a:avLst/>
                  <a:gdLst>
                    <a:gd name="T0" fmla="*/ 0 w 6"/>
                    <a:gd name="T1" fmla="*/ 6 h 6"/>
                    <a:gd name="T2" fmla="*/ 6 w 6"/>
                    <a:gd name="T3" fmla="*/ 0 h 6"/>
                    <a:gd name="T4" fmla="*/ 0 w 6"/>
                    <a:gd name="T5" fmla="*/ 6 h 6"/>
                    <a:gd name="T6" fmla="*/ 0 60000 65536"/>
                    <a:gd name="T7" fmla="*/ 0 60000 65536"/>
                    <a:gd name="T8" fmla="*/ 0 60000 65536"/>
                    <a:gd name="T9" fmla="*/ 0 w 6"/>
                    <a:gd name="T10" fmla="*/ 0 h 6"/>
                    <a:gd name="T11" fmla="*/ 6 w 6"/>
                    <a:gd name="T12" fmla="*/ 6 h 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6" h="6">
                      <a:moveTo>
                        <a:pt x="0" y="6"/>
                      </a:moveTo>
                      <a:lnTo>
                        <a:pt x="6" y="0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26" name="Freeform 25"/>
                <p:cNvSpPr>
                  <a:spLocks/>
                </p:cNvSpPr>
                <p:nvPr/>
              </p:nvSpPr>
              <p:spPr bwMode="auto">
                <a:xfrm>
                  <a:off x="6357938" y="4694569"/>
                  <a:ext cx="7938" cy="9522"/>
                </a:xfrm>
                <a:custGeom>
                  <a:avLst/>
                  <a:gdLst>
                    <a:gd name="T0" fmla="*/ 0 w 5"/>
                    <a:gd name="T1" fmla="*/ 0 h 6"/>
                    <a:gd name="T2" fmla="*/ 0 w 5"/>
                    <a:gd name="T3" fmla="*/ 6 h 6"/>
                    <a:gd name="T4" fmla="*/ 5 w 5"/>
                    <a:gd name="T5" fmla="*/ 0 h 6"/>
                    <a:gd name="T6" fmla="*/ 0 w 5"/>
                    <a:gd name="T7" fmla="*/ 0 h 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"/>
                    <a:gd name="T13" fmla="*/ 0 h 6"/>
                    <a:gd name="T14" fmla="*/ 5 w 5"/>
                    <a:gd name="T15" fmla="*/ 6 h 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" h="6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27" name="Freeform 26"/>
                <p:cNvSpPr>
                  <a:spLocks/>
                </p:cNvSpPr>
                <p:nvPr/>
              </p:nvSpPr>
              <p:spPr bwMode="auto">
                <a:xfrm>
                  <a:off x="6450013" y="4658066"/>
                  <a:ext cx="7938" cy="9522"/>
                </a:xfrm>
                <a:custGeom>
                  <a:avLst/>
                  <a:gdLst>
                    <a:gd name="T0" fmla="*/ 0 w 5"/>
                    <a:gd name="T1" fmla="*/ 6 h 6"/>
                    <a:gd name="T2" fmla="*/ 5 w 5"/>
                    <a:gd name="T3" fmla="*/ 0 h 6"/>
                    <a:gd name="T4" fmla="*/ 0 w 5"/>
                    <a:gd name="T5" fmla="*/ 6 h 6"/>
                    <a:gd name="T6" fmla="*/ 0 60000 65536"/>
                    <a:gd name="T7" fmla="*/ 0 60000 65536"/>
                    <a:gd name="T8" fmla="*/ 0 60000 65536"/>
                    <a:gd name="T9" fmla="*/ 0 w 5"/>
                    <a:gd name="T10" fmla="*/ 0 h 6"/>
                    <a:gd name="T11" fmla="*/ 5 w 5"/>
                    <a:gd name="T12" fmla="*/ 6 h 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5" h="6">
                      <a:moveTo>
                        <a:pt x="0" y="6"/>
                      </a:moveTo>
                      <a:lnTo>
                        <a:pt x="5" y="0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28" name="Freeform 27"/>
                <p:cNvSpPr>
                  <a:spLocks/>
                </p:cNvSpPr>
                <p:nvPr/>
              </p:nvSpPr>
              <p:spPr bwMode="auto">
                <a:xfrm>
                  <a:off x="5617033" y="3301991"/>
                  <a:ext cx="801687" cy="809409"/>
                </a:xfrm>
                <a:custGeom>
                  <a:avLst/>
                  <a:gdLst>
                    <a:gd name="T0" fmla="*/ 87 w 505"/>
                    <a:gd name="T1" fmla="*/ 23 h 510"/>
                    <a:gd name="T2" fmla="*/ 116 w 505"/>
                    <a:gd name="T3" fmla="*/ 17 h 510"/>
                    <a:gd name="T4" fmla="*/ 139 w 505"/>
                    <a:gd name="T5" fmla="*/ 17 h 510"/>
                    <a:gd name="T6" fmla="*/ 185 w 505"/>
                    <a:gd name="T7" fmla="*/ 11 h 510"/>
                    <a:gd name="T8" fmla="*/ 214 w 505"/>
                    <a:gd name="T9" fmla="*/ 5 h 510"/>
                    <a:gd name="T10" fmla="*/ 232 w 505"/>
                    <a:gd name="T11" fmla="*/ 5 h 510"/>
                    <a:gd name="T12" fmla="*/ 220 w 505"/>
                    <a:gd name="T13" fmla="*/ 40 h 510"/>
                    <a:gd name="T14" fmla="*/ 243 w 505"/>
                    <a:gd name="T15" fmla="*/ 52 h 510"/>
                    <a:gd name="T16" fmla="*/ 267 w 505"/>
                    <a:gd name="T17" fmla="*/ 58 h 510"/>
                    <a:gd name="T18" fmla="*/ 278 w 505"/>
                    <a:gd name="T19" fmla="*/ 81 h 510"/>
                    <a:gd name="T20" fmla="*/ 296 w 505"/>
                    <a:gd name="T21" fmla="*/ 98 h 510"/>
                    <a:gd name="T22" fmla="*/ 325 w 505"/>
                    <a:gd name="T23" fmla="*/ 121 h 510"/>
                    <a:gd name="T24" fmla="*/ 342 w 505"/>
                    <a:gd name="T25" fmla="*/ 145 h 510"/>
                    <a:gd name="T26" fmla="*/ 371 w 505"/>
                    <a:gd name="T27" fmla="*/ 168 h 510"/>
                    <a:gd name="T28" fmla="*/ 394 w 505"/>
                    <a:gd name="T29" fmla="*/ 185 h 510"/>
                    <a:gd name="T30" fmla="*/ 406 w 505"/>
                    <a:gd name="T31" fmla="*/ 191 h 510"/>
                    <a:gd name="T32" fmla="*/ 423 w 505"/>
                    <a:gd name="T33" fmla="*/ 208 h 510"/>
                    <a:gd name="T34" fmla="*/ 441 w 505"/>
                    <a:gd name="T35" fmla="*/ 249 h 510"/>
                    <a:gd name="T36" fmla="*/ 470 w 505"/>
                    <a:gd name="T37" fmla="*/ 284 h 510"/>
                    <a:gd name="T38" fmla="*/ 499 w 505"/>
                    <a:gd name="T39" fmla="*/ 301 h 510"/>
                    <a:gd name="T40" fmla="*/ 493 w 505"/>
                    <a:gd name="T41" fmla="*/ 324 h 510"/>
                    <a:gd name="T42" fmla="*/ 481 w 505"/>
                    <a:gd name="T43" fmla="*/ 342 h 510"/>
                    <a:gd name="T44" fmla="*/ 481 w 505"/>
                    <a:gd name="T45" fmla="*/ 353 h 510"/>
                    <a:gd name="T46" fmla="*/ 470 w 505"/>
                    <a:gd name="T47" fmla="*/ 365 h 510"/>
                    <a:gd name="T48" fmla="*/ 476 w 505"/>
                    <a:gd name="T49" fmla="*/ 382 h 510"/>
                    <a:gd name="T50" fmla="*/ 470 w 505"/>
                    <a:gd name="T51" fmla="*/ 411 h 510"/>
                    <a:gd name="T52" fmla="*/ 464 w 505"/>
                    <a:gd name="T53" fmla="*/ 429 h 510"/>
                    <a:gd name="T54" fmla="*/ 441 w 505"/>
                    <a:gd name="T55" fmla="*/ 464 h 510"/>
                    <a:gd name="T56" fmla="*/ 412 w 505"/>
                    <a:gd name="T57" fmla="*/ 464 h 510"/>
                    <a:gd name="T58" fmla="*/ 406 w 505"/>
                    <a:gd name="T59" fmla="*/ 510 h 510"/>
                    <a:gd name="T60" fmla="*/ 383 w 505"/>
                    <a:gd name="T61" fmla="*/ 493 h 510"/>
                    <a:gd name="T62" fmla="*/ 360 w 505"/>
                    <a:gd name="T63" fmla="*/ 493 h 510"/>
                    <a:gd name="T64" fmla="*/ 342 w 505"/>
                    <a:gd name="T65" fmla="*/ 493 h 510"/>
                    <a:gd name="T66" fmla="*/ 302 w 505"/>
                    <a:gd name="T67" fmla="*/ 498 h 510"/>
                    <a:gd name="T68" fmla="*/ 284 w 505"/>
                    <a:gd name="T69" fmla="*/ 498 h 510"/>
                    <a:gd name="T70" fmla="*/ 255 w 505"/>
                    <a:gd name="T71" fmla="*/ 504 h 510"/>
                    <a:gd name="T72" fmla="*/ 232 w 505"/>
                    <a:gd name="T73" fmla="*/ 504 h 510"/>
                    <a:gd name="T74" fmla="*/ 214 w 505"/>
                    <a:gd name="T75" fmla="*/ 504 h 510"/>
                    <a:gd name="T76" fmla="*/ 191 w 505"/>
                    <a:gd name="T77" fmla="*/ 504 h 510"/>
                    <a:gd name="T78" fmla="*/ 174 w 505"/>
                    <a:gd name="T79" fmla="*/ 510 h 510"/>
                    <a:gd name="T80" fmla="*/ 116 w 505"/>
                    <a:gd name="T81" fmla="*/ 481 h 510"/>
                    <a:gd name="T82" fmla="*/ 104 w 505"/>
                    <a:gd name="T83" fmla="*/ 452 h 510"/>
                    <a:gd name="T84" fmla="*/ 104 w 505"/>
                    <a:gd name="T85" fmla="*/ 423 h 510"/>
                    <a:gd name="T86" fmla="*/ 93 w 505"/>
                    <a:gd name="T87" fmla="*/ 394 h 510"/>
                    <a:gd name="T88" fmla="*/ 93 w 505"/>
                    <a:gd name="T89" fmla="*/ 359 h 510"/>
                    <a:gd name="T90" fmla="*/ 104 w 505"/>
                    <a:gd name="T91" fmla="*/ 336 h 510"/>
                    <a:gd name="T92" fmla="*/ 93 w 505"/>
                    <a:gd name="T93" fmla="*/ 307 h 510"/>
                    <a:gd name="T94" fmla="*/ 81 w 505"/>
                    <a:gd name="T95" fmla="*/ 284 h 510"/>
                    <a:gd name="T96" fmla="*/ 69 w 505"/>
                    <a:gd name="T97" fmla="*/ 266 h 510"/>
                    <a:gd name="T98" fmla="*/ 64 w 505"/>
                    <a:gd name="T99" fmla="*/ 243 h 510"/>
                    <a:gd name="T100" fmla="*/ 52 w 505"/>
                    <a:gd name="T101" fmla="*/ 214 h 510"/>
                    <a:gd name="T102" fmla="*/ 52 w 505"/>
                    <a:gd name="T103" fmla="*/ 197 h 510"/>
                    <a:gd name="T104" fmla="*/ 40 w 505"/>
                    <a:gd name="T105" fmla="*/ 162 h 510"/>
                    <a:gd name="T106" fmla="*/ 35 w 505"/>
                    <a:gd name="T107" fmla="*/ 145 h 510"/>
                    <a:gd name="T108" fmla="*/ 29 w 505"/>
                    <a:gd name="T109" fmla="*/ 127 h 510"/>
                    <a:gd name="T110" fmla="*/ 23 w 505"/>
                    <a:gd name="T111" fmla="*/ 98 h 510"/>
                    <a:gd name="T112" fmla="*/ 11 w 505"/>
                    <a:gd name="T113" fmla="*/ 75 h 510"/>
                    <a:gd name="T114" fmla="*/ 6 w 505"/>
                    <a:gd name="T115" fmla="*/ 46 h 510"/>
                    <a:gd name="T116" fmla="*/ 23 w 505"/>
                    <a:gd name="T117" fmla="*/ 29 h 510"/>
                    <a:gd name="T118" fmla="*/ 58 w 505"/>
                    <a:gd name="T119" fmla="*/ 29 h 51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505"/>
                    <a:gd name="T181" fmla="*/ 0 h 510"/>
                    <a:gd name="T182" fmla="*/ 505 w 505"/>
                    <a:gd name="T183" fmla="*/ 510 h 51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505" h="510">
                      <a:moveTo>
                        <a:pt x="75" y="23"/>
                      </a:moveTo>
                      <a:lnTo>
                        <a:pt x="81" y="23"/>
                      </a:lnTo>
                      <a:lnTo>
                        <a:pt x="87" y="23"/>
                      </a:lnTo>
                      <a:lnTo>
                        <a:pt x="93" y="23"/>
                      </a:lnTo>
                      <a:lnTo>
                        <a:pt x="104" y="17"/>
                      </a:lnTo>
                      <a:lnTo>
                        <a:pt x="116" y="17"/>
                      </a:lnTo>
                      <a:lnTo>
                        <a:pt x="122" y="17"/>
                      </a:lnTo>
                      <a:lnTo>
                        <a:pt x="127" y="17"/>
                      </a:lnTo>
                      <a:lnTo>
                        <a:pt x="139" y="17"/>
                      </a:lnTo>
                      <a:lnTo>
                        <a:pt x="151" y="11"/>
                      </a:lnTo>
                      <a:lnTo>
                        <a:pt x="156" y="11"/>
                      </a:lnTo>
                      <a:lnTo>
                        <a:pt x="185" y="11"/>
                      </a:lnTo>
                      <a:lnTo>
                        <a:pt x="191" y="5"/>
                      </a:lnTo>
                      <a:lnTo>
                        <a:pt x="197" y="5"/>
                      </a:lnTo>
                      <a:lnTo>
                        <a:pt x="214" y="5"/>
                      </a:lnTo>
                      <a:lnTo>
                        <a:pt x="226" y="0"/>
                      </a:lnTo>
                      <a:lnTo>
                        <a:pt x="232" y="0"/>
                      </a:lnTo>
                      <a:lnTo>
                        <a:pt x="232" y="5"/>
                      </a:lnTo>
                      <a:lnTo>
                        <a:pt x="220" y="17"/>
                      </a:lnTo>
                      <a:lnTo>
                        <a:pt x="214" y="34"/>
                      </a:lnTo>
                      <a:lnTo>
                        <a:pt x="220" y="40"/>
                      </a:lnTo>
                      <a:lnTo>
                        <a:pt x="226" y="46"/>
                      </a:lnTo>
                      <a:lnTo>
                        <a:pt x="238" y="52"/>
                      </a:lnTo>
                      <a:lnTo>
                        <a:pt x="243" y="52"/>
                      </a:lnTo>
                      <a:lnTo>
                        <a:pt x="249" y="58"/>
                      </a:lnTo>
                      <a:lnTo>
                        <a:pt x="255" y="58"/>
                      </a:lnTo>
                      <a:lnTo>
                        <a:pt x="267" y="58"/>
                      </a:lnTo>
                      <a:lnTo>
                        <a:pt x="272" y="69"/>
                      </a:lnTo>
                      <a:lnTo>
                        <a:pt x="278" y="75"/>
                      </a:lnTo>
                      <a:lnTo>
                        <a:pt x="278" y="81"/>
                      </a:lnTo>
                      <a:lnTo>
                        <a:pt x="284" y="87"/>
                      </a:lnTo>
                      <a:lnTo>
                        <a:pt x="290" y="92"/>
                      </a:lnTo>
                      <a:lnTo>
                        <a:pt x="296" y="98"/>
                      </a:lnTo>
                      <a:lnTo>
                        <a:pt x="302" y="104"/>
                      </a:lnTo>
                      <a:lnTo>
                        <a:pt x="302" y="110"/>
                      </a:lnTo>
                      <a:lnTo>
                        <a:pt x="325" y="121"/>
                      </a:lnTo>
                      <a:lnTo>
                        <a:pt x="336" y="127"/>
                      </a:lnTo>
                      <a:lnTo>
                        <a:pt x="342" y="139"/>
                      </a:lnTo>
                      <a:lnTo>
                        <a:pt x="342" y="145"/>
                      </a:lnTo>
                      <a:lnTo>
                        <a:pt x="354" y="145"/>
                      </a:lnTo>
                      <a:lnTo>
                        <a:pt x="360" y="150"/>
                      </a:lnTo>
                      <a:lnTo>
                        <a:pt x="371" y="168"/>
                      </a:lnTo>
                      <a:lnTo>
                        <a:pt x="383" y="174"/>
                      </a:lnTo>
                      <a:lnTo>
                        <a:pt x="383" y="179"/>
                      </a:lnTo>
                      <a:lnTo>
                        <a:pt x="394" y="185"/>
                      </a:lnTo>
                      <a:lnTo>
                        <a:pt x="394" y="191"/>
                      </a:lnTo>
                      <a:lnTo>
                        <a:pt x="400" y="191"/>
                      </a:lnTo>
                      <a:lnTo>
                        <a:pt x="406" y="191"/>
                      </a:lnTo>
                      <a:lnTo>
                        <a:pt x="418" y="197"/>
                      </a:lnTo>
                      <a:lnTo>
                        <a:pt x="423" y="203"/>
                      </a:lnTo>
                      <a:lnTo>
                        <a:pt x="423" y="208"/>
                      </a:lnTo>
                      <a:lnTo>
                        <a:pt x="435" y="232"/>
                      </a:lnTo>
                      <a:lnTo>
                        <a:pt x="435" y="243"/>
                      </a:lnTo>
                      <a:lnTo>
                        <a:pt x="441" y="249"/>
                      </a:lnTo>
                      <a:lnTo>
                        <a:pt x="452" y="249"/>
                      </a:lnTo>
                      <a:lnTo>
                        <a:pt x="470" y="272"/>
                      </a:lnTo>
                      <a:lnTo>
                        <a:pt x="470" y="284"/>
                      </a:lnTo>
                      <a:lnTo>
                        <a:pt x="476" y="295"/>
                      </a:lnTo>
                      <a:lnTo>
                        <a:pt x="487" y="295"/>
                      </a:lnTo>
                      <a:lnTo>
                        <a:pt x="499" y="301"/>
                      </a:lnTo>
                      <a:lnTo>
                        <a:pt x="505" y="301"/>
                      </a:lnTo>
                      <a:lnTo>
                        <a:pt x="505" y="307"/>
                      </a:lnTo>
                      <a:lnTo>
                        <a:pt x="493" y="324"/>
                      </a:lnTo>
                      <a:lnTo>
                        <a:pt x="487" y="324"/>
                      </a:lnTo>
                      <a:lnTo>
                        <a:pt x="487" y="330"/>
                      </a:lnTo>
                      <a:lnTo>
                        <a:pt x="481" y="342"/>
                      </a:lnTo>
                      <a:lnTo>
                        <a:pt x="476" y="342"/>
                      </a:lnTo>
                      <a:lnTo>
                        <a:pt x="481" y="342"/>
                      </a:lnTo>
                      <a:lnTo>
                        <a:pt x="481" y="353"/>
                      </a:lnTo>
                      <a:lnTo>
                        <a:pt x="481" y="359"/>
                      </a:lnTo>
                      <a:lnTo>
                        <a:pt x="476" y="359"/>
                      </a:lnTo>
                      <a:lnTo>
                        <a:pt x="470" y="365"/>
                      </a:lnTo>
                      <a:lnTo>
                        <a:pt x="476" y="365"/>
                      </a:lnTo>
                      <a:lnTo>
                        <a:pt x="481" y="365"/>
                      </a:lnTo>
                      <a:lnTo>
                        <a:pt x="476" y="382"/>
                      </a:lnTo>
                      <a:lnTo>
                        <a:pt x="470" y="382"/>
                      </a:lnTo>
                      <a:lnTo>
                        <a:pt x="476" y="394"/>
                      </a:lnTo>
                      <a:lnTo>
                        <a:pt x="470" y="411"/>
                      </a:lnTo>
                      <a:lnTo>
                        <a:pt x="464" y="417"/>
                      </a:lnTo>
                      <a:lnTo>
                        <a:pt x="464" y="411"/>
                      </a:lnTo>
                      <a:lnTo>
                        <a:pt x="464" y="429"/>
                      </a:lnTo>
                      <a:lnTo>
                        <a:pt x="470" y="429"/>
                      </a:lnTo>
                      <a:lnTo>
                        <a:pt x="470" y="464"/>
                      </a:lnTo>
                      <a:lnTo>
                        <a:pt x="441" y="464"/>
                      </a:lnTo>
                      <a:lnTo>
                        <a:pt x="429" y="458"/>
                      </a:lnTo>
                      <a:lnTo>
                        <a:pt x="423" y="458"/>
                      </a:lnTo>
                      <a:lnTo>
                        <a:pt x="412" y="464"/>
                      </a:lnTo>
                      <a:lnTo>
                        <a:pt x="418" y="493"/>
                      </a:lnTo>
                      <a:lnTo>
                        <a:pt x="418" y="510"/>
                      </a:lnTo>
                      <a:lnTo>
                        <a:pt x="406" y="510"/>
                      </a:lnTo>
                      <a:lnTo>
                        <a:pt x="400" y="498"/>
                      </a:lnTo>
                      <a:lnTo>
                        <a:pt x="394" y="493"/>
                      </a:lnTo>
                      <a:lnTo>
                        <a:pt x="383" y="493"/>
                      </a:lnTo>
                      <a:lnTo>
                        <a:pt x="377" y="493"/>
                      </a:lnTo>
                      <a:lnTo>
                        <a:pt x="371" y="493"/>
                      </a:lnTo>
                      <a:lnTo>
                        <a:pt x="360" y="493"/>
                      </a:lnTo>
                      <a:lnTo>
                        <a:pt x="354" y="493"/>
                      </a:lnTo>
                      <a:lnTo>
                        <a:pt x="348" y="493"/>
                      </a:lnTo>
                      <a:lnTo>
                        <a:pt x="342" y="493"/>
                      </a:lnTo>
                      <a:lnTo>
                        <a:pt x="331" y="493"/>
                      </a:lnTo>
                      <a:lnTo>
                        <a:pt x="307" y="498"/>
                      </a:lnTo>
                      <a:lnTo>
                        <a:pt x="302" y="498"/>
                      </a:lnTo>
                      <a:lnTo>
                        <a:pt x="296" y="498"/>
                      </a:lnTo>
                      <a:lnTo>
                        <a:pt x="290" y="498"/>
                      </a:lnTo>
                      <a:lnTo>
                        <a:pt x="284" y="498"/>
                      </a:lnTo>
                      <a:lnTo>
                        <a:pt x="278" y="498"/>
                      </a:lnTo>
                      <a:lnTo>
                        <a:pt x="267" y="498"/>
                      </a:lnTo>
                      <a:lnTo>
                        <a:pt x="255" y="504"/>
                      </a:lnTo>
                      <a:lnTo>
                        <a:pt x="249" y="504"/>
                      </a:lnTo>
                      <a:lnTo>
                        <a:pt x="243" y="504"/>
                      </a:lnTo>
                      <a:lnTo>
                        <a:pt x="232" y="504"/>
                      </a:lnTo>
                      <a:lnTo>
                        <a:pt x="226" y="504"/>
                      </a:lnTo>
                      <a:lnTo>
                        <a:pt x="220" y="504"/>
                      </a:lnTo>
                      <a:lnTo>
                        <a:pt x="214" y="504"/>
                      </a:lnTo>
                      <a:lnTo>
                        <a:pt x="209" y="504"/>
                      </a:lnTo>
                      <a:lnTo>
                        <a:pt x="197" y="504"/>
                      </a:lnTo>
                      <a:lnTo>
                        <a:pt x="191" y="504"/>
                      </a:lnTo>
                      <a:lnTo>
                        <a:pt x="185" y="504"/>
                      </a:lnTo>
                      <a:lnTo>
                        <a:pt x="180" y="510"/>
                      </a:lnTo>
                      <a:lnTo>
                        <a:pt x="174" y="510"/>
                      </a:lnTo>
                      <a:lnTo>
                        <a:pt x="156" y="510"/>
                      </a:lnTo>
                      <a:lnTo>
                        <a:pt x="133" y="510"/>
                      </a:lnTo>
                      <a:lnTo>
                        <a:pt x="116" y="481"/>
                      </a:lnTo>
                      <a:lnTo>
                        <a:pt x="110" y="469"/>
                      </a:lnTo>
                      <a:lnTo>
                        <a:pt x="110" y="464"/>
                      </a:lnTo>
                      <a:lnTo>
                        <a:pt x="104" y="452"/>
                      </a:lnTo>
                      <a:lnTo>
                        <a:pt x="104" y="446"/>
                      </a:lnTo>
                      <a:lnTo>
                        <a:pt x="104" y="440"/>
                      </a:lnTo>
                      <a:lnTo>
                        <a:pt x="104" y="423"/>
                      </a:lnTo>
                      <a:lnTo>
                        <a:pt x="98" y="411"/>
                      </a:lnTo>
                      <a:lnTo>
                        <a:pt x="93" y="400"/>
                      </a:lnTo>
                      <a:lnTo>
                        <a:pt x="93" y="394"/>
                      </a:lnTo>
                      <a:lnTo>
                        <a:pt x="93" y="382"/>
                      </a:lnTo>
                      <a:lnTo>
                        <a:pt x="93" y="365"/>
                      </a:lnTo>
                      <a:lnTo>
                        <a:pt x="93" y="359"/>
                      </a:lnTo>
                      <a:lnTo>
                        <a:pt x="93" y="353"/>
                      </a:lnTo>
                      <a:lnTo>
                        <a:pt x="98" y="348"/>
                      </a:lnTo>
                      <a:lnTo>
                        <a:pt x="104" y="336"/>
                      </a:lnTo>
                      <a:lnTo>
                        <a:pt x="98" y="330"/>
                      </a:lnTo>
                      <a:lnTo>
                        <a:pt x="98" y="324"/>
                      </a:lnTo>
                      <a:lnTo>
                        <a:pt x="93" y="307"/>
                      </a:lnTo>
                      <a:lnTo>
                        <a:pt x="87" y="295"/>
                      </a:lnTo>
                      <a:lnTo>
                        <a:pt x="81" y="295"/>
                      </a:lnTo>
                      <a:lnTo>
                        <a:pt x="81" y="284"/>
                      </a:lnTo>
                      <a:lnTo>
                        <a:pt x="75" y="284"/>
                      </a:lnTo>
                      <a:lnTo>
                        <a:pt x="75" y="278"/>
                      </a:lnTo>
                      <a:lnTo>
                        <a:pt x="69" y="266"/>
                      </a:lnTo>
                      <a:lnTo>
                        <a:pt x="69" y="261"/>
                      </a:lnTo>
                      <a:lnTo>
                        <a:pt x="69" y="255"/>
                      </a:lnTo>
                      <a:lnTo>
                        <a:pt x="64" y="243"/>
                      </a:lnTo>
                      <a:lnTo>
                        <a:pt x="64" y="237"/>
                      </a:lnTo>
                      <a:lnTo>
                        <a:pt x="58" y="232"/>
                      </a:lnTo>
                      <a:lnTo>
                        <a:pt x="52" y="214"/>
                      </a:lnTo>
                      <a:lnTo>
                        <a:pt x="52" y="208"/>
                      </a:lnTo>
                      <a:lnTo>
                        <a:pt x="52" y="203"/>
                      </a:lnTo>
                      <a:lnTo>
                        <a:pt x="52" y="197"/>
                      </a:lnTo>
                      <a:lnTo>
                        <a:pt x="46" y="185"/>
                      </a:lnTo>
                      <a:lnTo>
                        <a:pt x="46" y="179"/>
                      </a:lnTo>
                      <a:lnTo>
                        <a:pt x="40" y="162"/>
                      </a:lnTo>
                      <a:lnTo>
                        <a:pt x="40" y="156"/>
                      </a:lnTo>
                      <a:lnTo>
                        <a:pt x="35" y="156"/>
                      </a:lnTo>
                      <a:lnTo>
                        <a:pt x="35" y="145"/>
                      </a:lnTo>
                      <a:lnTo>
                        <a:pt x="35" y="139"/>
                      </a:lnTo>
                      <a:lnTo>
                        <a:pt x="29" y="133"/>
                      </a:lnTo>
                      <a:lnTo>
                        <a:pt x="29" y="127"/>
                      </a:lnTo>
                      <a:lnTo>
                        <a:pt x="29" y="116"/>
                      </a:lnTo>
                      <a:lnTo>
                        <a:pt x="23" y="110"/>
                      </a:lnTo>
                      <a:lnTo>
                        <a:pt x="23" y="98"/>
                      </a:lnTo>
                      <a:lnTo>
                        <a:pt x="17" y="92"/>
                      </a:lnTo>
                      <a:lnTo>
                        <a:pt x="17" y="87"/>
                      </a:lnTo>
                      <a:lnTo>
                        <a:pt x="11" y="75"/>
                      </a:lnTo>
                      <a:lnTo>
                        <a:pt x="11" y="58"/>
                      </a:lnTo>
                      <a:lnTo>
                        <a:pt x="6" y="52"/>
                      </a:lnTo>
                      <a:lnTo>
                        <a:pt x="6" y="46"/>
                      </a:lnTo>
                      <a:lnTo>
                        <a:pt x="0" y="34"/>
                      </a:lnTo>
                      <a:lnTo>
                        <a:pt x="11" y="34"/>
                      </a:lnTo>
                      <a:lnTo>
                        <a:pt x="23" y="29"/>
                      </a:lnTo>
                      <a:lnTo>
                        <a:pt x="29" y="29"/>
                      </a:lnTo>
                      <a:lnTo>
                        <a:pt x="35" y="29"/>
                      </a:lnTo>
                      <a:lnTo>
                        <a:pt x="58" y="29"/>
                      </a:lnTo>
                      <a:lnTo>
                        <a:pt x="64" y="23"/>
                      </a:lnTo>
                      <a:lnTo>
                        <a:pt x="75" y="23"/>
                      </a:lnTo>
                      <a:close/>
                    </a:path>
                  </a:pathLst>
                </a:custGeom>
                <a:solidFill>
                  <a:srgbClr val="FFC000">
                    <a:lumMod val="40000"/>
                    <a:lumOff val="6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29" name="Freeform 28"/>
                <p:cNvSpPr>
                  <a:spLocks/>
                </p:cNvSpPr>
                <p:nvPr/>
              </p:nvSpPr>
              <p:spPr bwMode="auto">
                <a:xfrm>
                  <a:off x="5956760" y="3227400"/>
                  <a:ext cx="747713" cy="552302"/>
                </a:xfrm>
                <a:custGeom>
                  <a:avLst/>
                  <a:gdLst>
                    <a:gd name="T0" fmla="*/ 88 w 471"/>
                    <a:gd name="T1" fmla="*/ 157 h 348"/>
                    <a:gd name="T2" fmla="*/ 122 w 471"/>
                    <a:gd name="T3" fmla="*/ 174 h 348"/>
                    <a:gd name="T4" fmla="*/ 128 w 471"/>
                    <a:gd name="T5" fmla="*/ 192 h 348"/>
                    <a:gd name="T6" fmla="*/ 146 w 471"/>
                    <a:gd name="T7" fmla="*/ 197 h 348"/>
                    <a:gd name="T8" fmla="*/ 169 w 471"/>
                    <a:gd name="T9" fmla="*/ 221 h 348"/>
                    <a:gd name="T10" fmla="*/ 180 w 471"/>
                    <a:gd name="T11" fmla="*/ 232 h 348"/>
                    <a:gd name="T12" fmla="*/ 186 w 471"/>
                    <a:gd name="T13" fmla="*/ 238 h 348"/>
                    <a:gd name="T14" fmla="*/ 204 w 471"/>
                    <a:gd name="T15" fmla="*/ 244 h 348"/>
                    <a:gd name="T16" fmla="*/ 209 w 471"/>
                    <a:gd name="T17" fmla="*/ 255 h 348"/>
                    <a:gd name="T18" fmla="*/ 221 w 471"/>
                    <a:gd name="T19" fmla="*/ 290 h 348"/>
                    <a:gd name="T20" fmla="*/ 238 w 471"/>
                    <a:gd name="T21" fmla="*/ 296 h 348"/>
                    <a:gd name="T22" fmla="*/ 256 w 471"/>
                    <a:gd name="T23" fmla="*/ 331 h 348"/>
                    <a:gd name="T24" fmla="*/ 273 w 471"/>
                    <a:gd name="T25" fmla="*/ 342 h 348"/>
                    <a:gd name="T26" fmla="*/ 285 w 471"/>
                    <a:gd name="T27" fmla="*/ 342 h 348"/>
                    <a:gd name="T28" fmla="*/ 302 w 471"/>
                    <a:gd name="T29" fmla="*/ 325 h 348"/>
                    <a:gd name="T30" fmla="*/ 285 w 471"/>
                    <a:gd name="T31" fmla="*/ 308 h 348"/>
                    <a:gd name="T32" fmla="*/ 320 w 471"/>
                    <a:gd name="T33" fmla="*/ 313 h 348"/>
                    <a:gd name="T34" fmla="*/ 314 w 471"/>
                    <a:gd name="T35" fmla="*/ 290 h 348"/>
                    <a:gd name="T36" fmla="*/ 325 w 471"/>
                    <a:gd name="T37" fmla="*/ 290 h 348"/>
                    <a:gd name="T38" fmla="*/ 331 w 471"/>
                    <a:gd name="T39" fmla="*/ 284 h 348"/>
                    <a:gd name="T40" fmla="*/ 360 w 471"/>
                    <a:gd name="T41" fmla="*/ 267 h 348"/>
                    <a:gd name="T42" fmla="*/ 378 w 471"/>
                    <a:gd name="T43" fmla="*/ 244 h 348"/>
                    <a:gd name="T44" fmla="*/ 389 w 471"/>
                    <a:gd name="T45" fmla="*/ 215 h 348"/>
                    <a:gd name="T46" fmla="*/ 418 w 471"/>
                    <a:gd name="T47" fmla="*/ 197 h 348"/>
                    <a:gd name="T48" fmla="*/ 430 w 471"/>
                    <a:gd name="T49" fmla="*/ 139 h 348"/>
                    <a:gd name="T50" fmla="*/ 453 w 471"/>
                    <a:gd name="T51" fmla="*/ 116 h 348"/>
                    <a:gd name="T52" fmla="*/ 465 w 471"/>
                    <a:gd name="T53" fmla="*/ 99 h 348"/>
                    <a:gd name="T54" fmla="*/ 430 w 471"/>
                    <a:gd name="T55" fmla="*/ 76 h 348"/>
                    <a:gd name="T56" fmla="*/ 413 w 471"/>
                    <a:gd name="T57" fmla="*/ 64 h 348"/>
                    <a:gd name="T58" fmla="*/ 378 w 471"/>
                    <a:gd name="T59" fmla="*/ 41 h 348"/>
                    <a:gd name="T60" fmla="*/ 366 w 471"/>
                    <a:gd name="T61" fmla="*/ 29 h 348"/>
                    <a:gd name="T62" fmla="*/ 343 w 471"/>
                    <a:gd name="T63" fmla="*/ 18 h 348"/>
                    <a:gd name="T64" fmla="*/ 325 w 471"/>
                    <a:gd name="T65" fmla="*/ 18 h 348"/>
                    <a:gd name="T66" fmla="*/ 314 w 471"/>
                    <a:gd name="T67" fmla="*/ 23 h 348"/>
                    <a:gd name="T68" fmla="*/ 279 w 471"/>
                    <a:gd name="T69" fmla="*/ 23 h 348"/>
                    <a:gd name="T70" fmla="*/ 262 w 471"/>
                    <a:gd name="T71" fmla="*/ 29 h 348"/>
                    <a:gd name="T72" fmla="*/ 238 w 471"/>
                    <a:gd name="T73" fmla="*/ 18 h 348"/>
                    <a:gd name="T74" fmla="*/ 227 w 471"/>
                    <a:gd name="T75" fmla="*/ 12 h 348"/>
                    <a:gd name="T76" fmla="*/ 215 w 471"/>
                    <a:gd name="T77" fmla="*/ 6 h 348"/>
                    <a:gd name="T78" fmla="*/ 198 w 471"/>
                    <a:gd name="T79" fmla="*/ 0 h 348"/>
                    <a:gd name="T80" fmla="*/ 180 w 471"/>
                    <a:gd name="T81" fmla="*/ 0 h 348"/>
                    <a:gd name="T82" fmla="*/ 169 w 471"/>
                    <a:gd name="T83" fmla="*/ 6 h 348"/>
                    <a:gd name="T84" fmla="*/ 140 w 471"/>
                    <a:gd name="T85" fmla="*/ 6 h 348"/>
                    <a:gd name="T86" fmla="*/ 122 w 471"/>
                    <a:gd name="T87" fmla="*/ 12 h 348"/>
                    <a:gd name="T88" fmla="*/ 105 w 471"/>
                    <a:gd name="T89" fmla="*/ 12 h 348"/>
                    <a:gd name="T90" fmla="*/ 88 w 471"/>
                    <a:gd name="T91" fmla="*/ 18 h 348"/>
                    <a:gd name="T92" fmla="*/ 64 w 471"/>
                    <a:gd name="T93" fmla="*/ 23 h 348"/>
                    <a:gd name="T94" fmla="*/ 53 w 471"/>
                    <a:gd name="T95" fmla="*/ 35 h 348"/>
                    <a:gd name="T96" fmla="*/ 41 w 471"/>
                    <a:gd name="T97" fmla="*/ 41 h 348"/>
                    <a:gd name="T98" fmla="*/ 18 w 471"/>
                    <a:gd name="T99" fmla="*/ 47 h 348"/>
                    <a:gd name="T100" fmla="*/ 6 w 471"/>
                    <a:gd name="T101" fmla="*/ 64 h 348"/>
                    <a:gd name="T102" fmla="*/ 6 w 471"/>
                    <a:gd name="T103" fmla="*/ 87 h 348"/>
                    <a:gd name="T104" fmla="*/ 24 w 471"/>
                    <a:gd name="T105" fmla="*/ 99 h 348"/>
                    <a:gd name="T106" fmla="*/ 35 w 471"/>
                    <a:gd name="T107" fmla="*/ 105 h 348"/>
                    <a:gd name="T108" fmla="*/ 53 w 471"/>
                    <a:gd name="T109" fmla="*/ 105 h 348"/>
                    <a:gd name="T110" fmla="*/ 64 w 471"/>
                    <a:gd name="T111" fmla="*/ 122 h 348"/>
                    <a:gd name="T112" fmla="*/ 70 w 471"/>
                    <a:gd name="T113" fmla="*/ 134 h 348"/>
                    <a:gd name="T114" fmla="*/ 82 w 471"/>
                    <a:gd name="T115" fmla="*/ 145 h 348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471"/>
                    <a:gd name="T175" fmla="*/ 0 h 348"/>
                    <a:gd name="T176" fmla="*/ 471 w 471"/>
                    <a:gd name="T177" fmla="*/ 348 h 348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471" h="348">
                      <a:moveTo>
                        <a:pt x="88" y="151"/>
                      </a:moveTo>
                      <a:lnTo>
                        <a:pt x="88" y="157"/>
                      </a:lnTo>
                      <a:lnTo>
                        <a:pt x="111" y="168"/>
                      </a:lnTo>
                      <a:lnTo>
                        <a:pt x="122" y="174"/>
                      </a:lnTo>
                      <a:lnTo>
                        <a:pt x="128" y="186"/>
                      </a:lnTo>
                      <a:lnTo>
                        <a:pt x="128" y="192"/>
                      </a:lnTo>
                      <a:lnTo>
                        <a:pt x="140" y="192"/>
                      </a:lnTo>
                      <a:lnTo>
                        <a:pt x="146" y="197"/>
                      </a:lnTo>
                      <a:lnTo>
                        <a:pt x="157" y="215"/>
                      </a:lnTo>
                      <a:lnTo>
                        <a:pt x="169" y="221"/>
                      </a:lnTo>
                      <a:lnTo>
                        <a:pt x="169" y="226"/>
                      </a:lnTo>
                      <a:lnTo>
                        <a:pt x="180" y="232"/>
                      </a:lnTo>
                      <a:lnTo>
                        <a:pt x="180" y="238"/>
                      </a:lnTo>
                      <a:lnTo>
                        <a:pt x="186" y="238"/>
                      </a:lnTo>
                      <a:lnTo>
                        <a:pt x="192" y="238"/>
                      </a:lnTo>
                      <a:lnTo>
                        <a:pt x="204" y="244"/>
                      </a:lnTo>
                      <a:lnTo>
                        <a:pt x="209" y="250"/>
                      </a:lnTo>
                      <a:lnTo>
                        <a:pt x="209" y="255"/>
                      </a:lnTo>
                      <a:lnTo>
                        <a:pt x="221" y="279"/>
                      </a:lnTo>
                      <a:lnTo>
                        <a:pt x="221" y="290"/>
                      </a:lnTo>
                      <a:lnTo>
                        <a:pt x="227" y="296"/>
                      </a:lnTo>
                      <a:lnTo>
                        <a:pt x="238" y="296"/>
                      </a:lnTo>
                      <a:lnTo>
                        <a:pt x="256" y="319"/>
                      </a:lnTo>
                      <a:lnTo>
                        <a:pt x="256" y="331"/>
                      </a:lnTo>
                      <a:lnTo>
                        <a:pt x="262" y="342"/>
                      </a:lnTo>
                      <a:lnTo>
                        <a:pt x="273" y="342"/>
                      </a:lnTo>
                      <a:lnTo>
                        <a:pt x="285" y="348"/>
                      </a:lnTo>
                      <a:lnTo>
                        <a:pt x="285" y="342"/>
                      </a:lnTo>
                      <a:lnTo>
                        <a:pt x="296" y="337"/>
                      </a:lnTo>
                      <a:lnTo>
                        <a:pt x="302" y="325"/>
                      </a:lnTo>
                      <a:lnTo>
                        <a:pt x="291" y="319"/>
                      </a:lnTo>
                      <a:lnTo>
                        <a:pt x="285" y="308"/>
                      </a:lnTo>
                      <a:lnTo>
                        <a:pt x="308" y="319"/>
                      </a:lnTo>
                      <a:lnTo>
                        <a:pt x="320" y="313"/>
                      </a:lnTo>
                      <a:lnTo>
                        <a:pt x="320" y="302"/>
                      </a:lnTo>
                      <a:lnTo>
                        <a:pt x="314" y="290"/>
                      </a:lnTo>
                      <a:lnTo>
                        <a:pt x="320" y="290"/>
                      </a:lnTo>
                      <a:lnTo>
                        <a:pt x="325" y="290"/>
                      </a:lnTo>
                      <a:lnTo>
                        <a:pt x="331" y="290"/>
                      </a:lnTo>
                      <a:lnTo>
                        <a:pt x="331" y="284"/>
                      </a:lnTo>
                      <a:lnTo>
                        <a:pt x="349" y="273"/>
                      </a:lnTo>
                      <a:lnTo>
                        <a:pt x="360" y="267"/>
                      </a:lnTo>
                      <a:lnTo>
                        <a:pt x="366" y="250"/>
                      </a:lnTo>
                      <a:lnTo>
                        <a:pt x="378" y="244"/>
                      </a:lnTo>
                      <a:lnTo>
                        <a:pt x="395" y="226"/>
                      </a:lnTo>
                      <a:lnTo>
                        <a:pt x="389" y="215"/>
                      </a:lnTo>
                      <a:lnTo>
                        <a:pt x="407" y="215"/>
                      </a:lnTo>
                      <a:lnTo>
                        <a:pt x="418" y="197"/>
                      </a:lnTo>
                      <a:lnTo>
                        <a:pt x="424" y="168"/>
                      </a:lnTo>
                      <a:lnTo>
                        <a:pt x="430" y="139"/>
                      </a:lnTo>
                      <a:lnTo>
                        <a:pt x="447" y="116"/>
                      </a:lnTo>
                      <a:lnTo>
                        <a:pt x="453" y="116"/>
                      </a:lnTo>
                      <a:lnTo>
                        <a:pt x="471" y="105"/>
                      </a:lnTo>
                      <a:lnTo>
                        <a:pt x="465" y="99"/>
                      </a:lnTo>
                      <a:lnTo>
                        <a:pt x="459" y="93"/>
                      </a:lnTo>
                      <a:lnTo>
                        <a:pt x="430" y="76"/>
                      </a:lnTo>
                      <a:lnTo>
                        <a:pt x="418" y="64"/>
                      </a:lnTo>
                      <a:lnTo>
                        <a:pt x="413" y="64"/>
                      </a:lnTo>
                      <a:lnTo>
                        <a:pt x="389" y="47"/>
                      </a:lnTo>
                      <a:lnTo>
                        <a:pt x="378" y="41"/>
                      </a:lnTo>
                      <a:lnTo>
                        <a:pt x="366" y="35"/>
                      </a:lnTo>
                      <a:lnTo>
                        <a:pt x="366" y="29"/>
                      </a:lnTo>
                      <a:lnTo>
                        <a:pt x="349" y="23"/>
                      </a:lnTo>
                      <a:lnTo>
                        <a:pt x="343" y="18"/>
                      </a:lnTo>
                      <a:lnTo>
                        <a:pt x="337" y="18"/>
                      </a:lnTo>
                      <a:lnTo>
                        <a:pt x="325" y="18"/>
                      </a:lnTo>
                      <a:lnTo>
                        <a:pt x="320" y="18"/>
                      </a:lnTo>
                      <a:lnTo>
                        <a:pt x="314" y="23"/>
                      </a:lnTo>
                      <a:lnTo>
                        <a:pt x="285" y="23"/>
                      </a:lnTo>
                      <a:lnTo>
                        <a:pt x="279" y="23"/>
                      </a:lnTo>
                      <a:lnTo>
                        <a:pt x="267" y="29"/>
                      </a:lnTo>
                      <a:lnTo>
                        <a:pt x="262" y="29"/>
                      </a:lnTo>
                      <a:lnTo>
                        <a:pt x="238" y="35"/>
                      </a:lnTo>
                      <a:lnTo>
                        <a:pt x="238" y="18"/>
                      </a:lnTo>
                      <a:lnTo>
                        <a:pt x="233" y="12"/>
                      </a:lnTo>
                      <a:lnTo>
                        <a:pt x="227" y="12"/>
                      </a:lnTo>
                      <a:lnTo>
                        <a:pt x="221" y="6"/>
                      </a:lnTo>
                      <a:lnTo>
                        <a:pt x="215" y="6"/>
                      </a:lnTo>
                      <a:lnTo>
                        <a:pt x="209" y="0"/>
                      </a:lnTo>
                      <a:lnTo>
                        <a:pt x="198" y="0"/>
                      </a:lnTo>
                      <a:lnTo>
                        <a:pt x="192" y="0"/>
                      </a:lnTo>
                      <a:lnTo>
                        <a:pt x="180" y="0"/>
                      </a:lnTo>
                      <a:lnTo>
                        <a:pt x="180" y="6"/>
                      </a:lnTo>
                      <a:lnTo>
                        <a:pt x="169" y="6"/>
                      </a:lnTo>
                      <a:lnTo>
                        <a:pt x="146" y="6"/>
                      </a:lnTo>
                      <a:lnTo>
                        <a:pt x="140" y="6"/>
                      </a:lnTo>
                      <a:lnTo>
                        <a:pt x="134" y="12"/>
                      </a:lnTo>
                      <a:lnTo>
                        <a:pt x="122" y="12"/>
                      </a:lnTo>
                      <a:lnTo>
                        <a:pt x="117" y="12"/>
                      </a:lnTo>
                      <a:lnTo>
                        <a:pt x="105" y="12"/>
                      </a:lnTo>
                      <a:lnTo>
                        <a:pt x="99" y="12"/>
                      </a:lnTo>
                      <a:lnTo>
                        <a:pt x="88" y="18"/>
                      </a:lnTo>
                      <a:lnTo>
                        <a:pt x="76" y="18"/>
                      </a:lnTo>
                      <a:lnTo>
                        <a:pt x="64" y="23"/>
                      </a:lnTo>
                      <a:lnTo>
                        <a:pt x="58" y="29"/>
                      </a:lnTo>
                      <a:lnTo>
                        <a:pt x="53" y="35"/>
                      </a:lnTo>
                      <a:lnTo>
                        <a:pt x="41" y="35"/>
                      </a:lnTo>
                      <a:lnTo>
                        <a:pt x="41" y="41"/>
                      </a:lnTo>
                      <a:lnTo>
                        <a:pt x="29" y="41"/>
                      </a:lnTo>
                      <a:lnTo>
                        <a:pt x="18" y="47"/>
                      </a:lnTo>
                      <a:lnTo>
                        <a:pt x="18" y="52"/>
                      </a:lnTo>
                      <a:lnTo>
                        <a:pt x="6" y="64"/>
                      </a:lnTo>
                      <a:lnTo>
                        <a:pt x="0" y="81"/>
                      </a:lnTo>
                      <a:lnTo>
                        <a:pt x="6" y="87"/>
                      </a:lnTo>
                      <a:lnTo>
                        <a:pt x="12" y="93"/>
                      </a:lnTo>
                      <a:lnTo>
                        <a:pt x="24" y="99"/>
                      </a:lnTo>
                      <a:lnTo>
                        <a:pt x="29" y="99"/>
                      </a:lnTo>
                      <a:lnTo>
                        <a:pt x="35" y="105"/>
                      </a:lnTo>
                      <a:lnTo>
                        <a:pt x="41" y="105"/>
                      </a:lnTo>
                      <a:lnTo>
                        <a:pt x="53" y="105"/>
                      </a:lnTo>
                      <a:lnTo>
                        <a:pt x="58" y="116"/>
                      </a:lnTo>
                      <a:lnTo>
                        <a:pt x="64" y="122"/>
                      </a:lnTo>
                      <a:lnTo>
                        <a:pt x="64" y="128"/>
                      </a:lnTo>
                      <a:lnTo>
                        <a:pt x="70" y="134"/>
                      </a:lnTo>
                      <a:lnTo>
                        <a:pt x="76" y="139"/>
                      </a:lnTo>
                      <a:lnTo>
                        <a:pt x="82" y="145"/>
                      </a:lnTo>
                      <a:lnTo>
                        <a:pt x="88" y="151"/>
                      </a:lnTo>
                      <a:close/>
                    </a:path>
                  </a:pathLst>
                </a:custGeom>
                <a:solidFill>
                  <a:srgbClr val="FFC000">
                    <a:lumMod val="40000"/>
                    <a:lumOff val="6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30" name="Freeform 29"/>
                <p:cNvSpPr>
                  <a:spLocks/>
                </p:cNvSpPr>
                <p:nvPr/>
              </p:nvSpPr>
              <p:spPr bwMode="auto">
                <a:xfrm>
                  <a:off x="5864685" y="2198578"/>
                  <a:ext cx="1123950" cy="636417"/>
                </a:xfrm>
                <a:custGeom>
                  <a:avLst/>
                  <a:gdLst>
                    <a:gd name="T0" fmla="*/ 656 w 708"/>
                    <a:gd name="T1" fmla="*/ 232 h 401"/>
                    <a:gd name="T2" fmla="*/ 674 w 708"/>
                    <a:gd name="T3" fmla="*/ 238 h 401"/>
                    <a:gd name="T4" fmla="*/ 685 w 708"/>
                    <a:gd name="T5" fmla="*/ 279 h 401"/>
                    <a:gd name="T6" fmla="*/ 650 w 708"/>
                    <a:gd name="T7" fmla="*/ 290 h 401"/>
                    <a:gd name="T8" fmla="*/ 610 w 708"/>
                    <a:gd name="T9" fmla="*/ 296 h 401"/>
                    <a:gd name="T10" fmla="*/ 558 w 708"/>
                    <a:gd name="T11" fmla="*/ 308 h 401"/>
                    <a:gd name="T12" fmla="*/ 523 w 708"/>
                    <a:gd name="T13" fmla="*/ 319 h 401"/>
                    <a:gd name="T14" fmla="*/ 488 w 708"/>
                    <a:gd name="T15" fmla="*/ 325 h 401"/>
                    <a:gd name="T16" fmla="*/ 459 w 708"/>
                    <a:gd name="T17" fmla="*/ 331 h 401"/>
                    <a:gd name="T18" fmla="*/ 412 w 708"/>
                    <a:gd name="T19" fmla="*/ 337 h 401"/>
                    <a:gd name="T20" fmla="*/ 378 w 708"/>
                    <a:gd name="T21" fmla="*/ 348 h 401"/>
                    <a:gd name="T22" fmla="*/ 343 w 708"/>
                    <a:gd name="T23" fmla="*/ 354 h 401"/>
                    <a:gd name="T24" fmla="*/ 308 w 708"/>
                    <a:gd name="T25" fmla="*/ 360 h 401"/>
                    <a:gd name="T26" fmla="*/ 279 w 708"/>
                    <a:gd name="T27" fmla="*/ 360 h 401"/>
                    <a:gd name="T28" fmla="*/ 250 w 708"/>
                    <a:gd name="T29" fmla="*/ 366 h 401"/>
                    <a:gd name="T30" fmla="*/ 204 w 708"/>
                    <a:gd name="T31" fmla="*/ 372 h 401"/>
                    <a:gd name="T32" fmla="*/ 186 w 708"/>
                    <a:gd name="T33" fmla="*/ 372 h 401"/>
                    <a:gd name="T34" fmla="*/ 140 w 708"/>
                    <a:gd name="T35" fmla="*/ 383 h 401"/>
                    <a:gd name="T36" fmla="*/ 105 w 708"/>
                    <a:gd name="T37" fmla="*/ 389 h 401"/>
                    <a:gd name="T38" fmla="*/ 70 w 708"/>
                    <a:gd name="T39" fmla="*/ 395 h 401"/>
                    <a:gd name="T40" fmla="*/ 18 w 708"/>
                    <a:gd name="T41" fmla="*/ 401 h 401"/>
                    <a:gd name="T42" fmla="*/ 12 w 708"/>
                    <a:gd name="T43" fmla="*/ 395 h 401"/>
                    <a:gd name="T44" fmla="*/ 64 w 708"/>
                    <a:gd name="T45" fmla="*/ 360 h 401"/>
                    <a:gd name="T46" fmla="*/ 76 w 708"/>
                    <a:gd name="T47" fmla="*/ 331 h 401"/>
                    <a:gd name="T48" fmla="*/ 105 w 708"/>
                    <a:gd name="T49" fmla="*/ 308 h 401"/>
                    <a:gd name="T50" fmla="*/ 140 w 708"/>
                    <a:gd name="T51" fmla="*/ 273 h 401"/>
                    <a:gd name="T52" fmla="*/ 169 w 708"/>
                    <a:gd name="T53" fmla="*/ 308 h 401"/>
                    <a:gd name="T54" fmla="*/ 209 w 708"/>
                    <a:gd name="T55" fmla="*/ 296 h 401"/>
                    <a:gd name="T56" fmla="*/ 238 w 708"/>
                    <a:gd name="T57" fmla="*/ 273 h 401"/>
                    <a:gd name="T58" fmla="*/ 285 w 708"/>
                    <a:gd name="T59" fmla="*/ 250 h 401"/>
                    <a:gd name="T60" fmla="*/ 291 w 708"/>
                    <a:gd name="T61" fmla="*/ 221 h 401"/>
                    <a:gd name="T62" fmla="*/ 308 w 708"/>
                    <a:gd name="T63" fmla="*/ 186 h 401"/>
                    <a:gd name="T64" fmla="*/ 320 w 708"/>
                    <a:gd name="T65" fmla="*/ 145 h 401"/>
                    <a:gd name="T66" fmla="*/ 354 w 708"/>
                    <a:gd name="T67" fmla="*/ 134 h 401"/>
                    <a:gd name="T68" fmla="*/ 360 w 708"/>
                    <a:gd name="T69" fmla="*/ 122 h 401"/>
                    <a:gd name="T70" fmla="*/ 395 w 708"/>
                    <a:gd name="T71" fmla="*/ 70 h 401"/>
                    <a:gd name="T72" fmla="*/ 418 w 708"/>
                    <a:gd name="T73" fmla="*/ 41 h 401"/>
                    <a:gd name="T74" fmla="*/ 424 w 708"/>
                    <a:gd name="T75" fmla="*/ 6 h 401"/>
                    <a:gd name="T76" fmla="*/ 447 w 708"/>
                    <a:gd name="T77" fmla="*/ 18 h 401"/>
                    <a:gd name="T78" fmla="*/ 471 w 708"/>
                    <a:gd name="T79" fmla="*/ 6 h 401"/>
                    <a:gd name="T80" fmla="*/ 494 w 708"/>
                    <a:gd name="T81" fmla="*/ 6 h 401"/>
                    <a:gd name="T82" fmla="*/ 517 w 708"/>
                    <a:gd name="T83" fmla="*/ 24 h 401"/>
                    <a:gd name="T84" fmla="*/ 546 w 708"/>
                    <a:gd name="T85" fmla="*/ 41 h 401"/>
                    <a:gd name="T86" fmla="*/ 540 w 708"/>
                    <a:gd name="T87" fmla="*/ 64 h 401"/>
                    <a:gd name="T88" fmla="*/ 529 w 708"/>
                    <a:gd name="T89" fmla="*/ 87 h 401"/>
                    <a:gd name="T90" fmla="*/ 558 w 708"/>
                    <a:gd name="T91" fmla="*/ 93 h 401"/>
                    <a:gd name="T92" fmla="*/ 575 w 708"/>
                    <a:gd name="T93" fmla="*/ 116 h 401"/>
                    <a:gd name="T94" fmla="*/ 633 w 708"/>
                    <a:gd name="T95" fmla="*/ 151 h 401"/>
                    <a:gd name="T96" fmla="*/ 616 w 708"/>
                    <a:gd name="T97" fmla="*/ 157 h 401"/>
                    <a:gd name="T98" fmla="*/ 604 w 708"/>
                    <a:gd name="T99" fmla="*/ 157 h 401"/>
                    <a:gd name="T100" fmla="*/ 639 w 708"/>
                    <a:gd name="T101" fmla="*/ 180 h 401"/>
                    <a:gd name="T102" fmla="*/ 633 w 708"/>
                    <a:gd name="T103" fmla="*/ 198 h 401"/>
                    <a:gd name="T104" fmla="*/ 645 w 708"/>
                    <a:gd name="T105" fmla="*/ 209 h 401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708"/>
                    <a:gd name="T160" fmla="*/ 0 h 401"/>
                    <a:gd name="T161" fmla="*/ 708 w 708"/>
                    <a:gd name="T162" fmla="*/ 401 h 401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708" h="401">
                      <a:moveTo>
                        <a:pt x="645" y="215"/>
                      </a:moveTo>
                      <a:lnTo>
                        <a:pt x="645" y="221"/>
                      </a:lnTo>
                      <a:lnTo>
                        <a:pt x="656" y="221"/>
                      </a:lnTo>
                      <a:lnTo>
                        <a:pt x="656" y="232"/>
                      </a:lnTo>
                      <a:lnTo>
                        <a:pt x="656" y="238"/>
                      </a:lnTo>
                      <a:lnTo>
                        <a:pt x="662" y="238"/>
                      </a:lnTo>
                      <a:lnTo>
                        <a:pt x="668" y="238"/>
                      </a:lnTo>
                      <a:lnTo>
                        <a:pt x="674" y="238"/>
                      </a:lnTo>
                      <a:lnTo>
                        <a:pt x="685" y="238"/>
                      </a:lnTo>
                      <a:lnTo>
                        <a:pt x="708" y="273"/>
                      </a:lnTo>
                      <a:lnTo>
                        <a:pt x="697" y="279"/>
                      </a:lnTo>
                      <a:lnTo>
                        <a:pt x="685" y="279"/>
                      </a:lnTo>
                      <a:lnTo>
                        <a:pt x="674" y="285"/>
                      </a:lnTo>
                      <a:lnTo>
                        <a:pt x="668" y="285"/>
                      </a:lnTo>
                      <a:lnTo>
                        <a:pt x="662" y="285"/>
                      </a:lnTo>
                      <a:lnTo>
                        <a:pt x="650" y="290"/>
                      </a:lnTo>
                      <a:lnTo>
                        <a:pt x="645" y="290"/>
                      </a:lnTo>
                      <a:lnTo>
                        <a:pt x="627" y="296"/>
                      </a:lnTo>
                      <a:lnTo>
                        <a:pt x="616" y="296"/>
                      </a:lnTo>
                      <a:lnTo>
                        <a:pt x="610" y="296"/>
                      </a:lnTo>
                      <a:lnTo>
                        <a:pt x="598" y="302"/>
                      </a:lnTo>
                      <a:lnTo>
                        <a:pt x="592" y="302"/>
                      </a:lnTo>
                      <a:lnTo>
                        <a:pt x="581" y="302"/>
                      </a:lnTo>
                      <a:lnTo>
                        <a:pt x="558" y="308"/>
                      </a:lnTo>
                      <a:lnTo>
                        <a:pt x="552" y="308"/>
                      </a:lnTo>
                      <a:lnTo>
                        <a:pt x="534" y="314"/>
                      </a:lnTo>
                      <a:lnTo>
                        <a:pt x="529" y="314"/>
                      </a:lnTo>
                      <a:lnTo>
                        <a:pt x="523" y="319"/>
                      </a:lnTo>
                      <a:lnTo>
                        <a:pt x="517" y="319"/>
                      </a:lnTo>
                      <a:lnTo>
                        <a:pt x="511" y="319"/>
                      </a:lnTo>
                      <a:lnTo>
                        <a:pt x="494" y="325"/>
                      </a:lnTo>
                      <a:lnTo>
                        <a:pt x="488" y="325"/>
                      </a:lnTo>
                      <a:lnTo>
                        <a:pt x="482" y="325"/>
                      </a:lnTo>
                      <a:lnTo>
                        <a:pt x="476" y="325"/>
                      </a:lnTo>
                      <a:lnTo>
                        <a:pt x="471" y="325"/>
                      </a:lnTo>
                      <a:lnTo>
                        <a:pt x="459" y="331"/>
                      </a:lnTo>
                      <a:lnTo>
                        <a:pt x="447" y="331"/>
                      </a:lnTo>
                      <a:lnTo>
                        <a:pt x="442" y="331"/>
                      </a:lnTo>
                      <a:lnTo>
                        <a:pt x="442" y="337"/>
                      </a:lnTo>
                      <a:lnTo>
                        <a:pt x="412" y="337"/>
                      </a:lnTo>
                      <a:lnTo>
                        <a:pt x="407" y="343"/>
                      </a:lnTo>
                      <a:lnTo>
                        <a:pt x="401" y="343"/>
                      </a:lnTo>
                      <a:lnTo>
                        <a:pt x="389" y="343"/>
                      </a:lnTo>
                      <a:lnTo>
                        <a:pt x="378" y="348"/>
                      </a:lnTo>
                      <a:lnTo>
                        <a:pt x="372" y="348"/>
                      </a:lnTo>
                      <a:lnTo>
                        <a:pt x="366" y="348"/>
                      </a:lnTo>
                      <a:lnTo>
                        <a:pt x="360" y="348"/>
                      </a:lnTo>
                      <a:lnTo>
                        <a:pt x="343" y="354"/>
                      </a:lnTo>
                      <a:lnTo>
                        <a:pt x="337" y="354"/>
                      </a:lnTo>
                      <a:lnTo>
                        <a:pt x="331" y="354"/>
                      </a:lnTo>
                      <a:lnTo>
                        <a:pt x="325" y="354"/>
                      </a:lnTo>
                      <a:lnTo>
                        <a:pt x="308" y="360"/>
                      </a:lnTo>
                      <a:lnTo>
                        <a:pt x="296" y="360"/>
                      </a:lnTo>
                      <a:lnTo>
                        <a:pt x="291" y="360"/>
                      </a:lnTo>
                      <a:lnTo>
                        <a:pt x="285" y="360"/>
                      </a:lnTo>
                      <a:lnTo>
                        <a:pt x="279" y="360"/>
                      </a:lnTo>
                      <a:lnTo>
                        <a:pt x="267" y="366"/>
                      </a:lnTo>
                      <a:lnTo>
                        <a:pt x="262" y="366"/>
                      </a:lnTo>
                      <a:lnTo>
                        <a:pt x="256" y="366"/>
                      </a:lnTo>
                      <a:lnTo>
                        <a:pt x="250" y="366"/>
                      </a:lnTo>
                      <a:lnTo>
                        <a:pt x="238" y="366"/>
                      </a:lnTo>
                      <a:lnTo>
                        <a:pt x="215" y="372"/>
                      </a:lnTo>
                      <a:lnTo>
                        <a:pt x="209" y="372"/>
                      </a:lnTo>
                      <a:lnTo>
                        <a:pt x="204" y="372"/>
                      </a:lnTo>
                      <a:lnTo>
                        <a:pt x="198" y="372"/>
                      </a:lnTo>
                      <a:lnTo>
                        <a:pt x="186" y="377"/>
                      </a:lnTo>
                      <a:lnTo>
                        <a:pt x="180" y="377"/>
                      </a:lnTo>
                      <a:lnTo>
                        <a:pt x="186" y="372"/>
                      </a:lnTo>
                      <a:lnTo>
                        <a:pt x="175" y="372"/>
                      </a:lnTo>
                      <a:lnTo>
                        <a:pt x="169" y="377"/>
                      </a:lnTo>
                      <a:lnTo>
                        <a:pt x="157" y="377"/>
                      </a:lnTo>
                      <a:lnTo>
                        <a:pt x="140" y="383"/>
                      </a:lnTo>
                      <a:lnTo>
                        <a:pt x="134" y="383"/>
                      </a:lnTo>
                      <a:lnTo>
                        <a:pt x="128" y="383"/>
                      </a:lnTo>
                      <a:lnTo>
                        <a:pt x="116" y="383"/>
                      </a:lnTo>
                      <a:lnTo>
                        <a:pt x="105" y="389"/>
                      </a:lnTo>
                      <a:lnTo>
                        <a:pt x="99" y="389"/>
                      </a:lnTo>
                      <a:lnTo>
                        <a:pt x="93" y="389"/>
                      </a:lnTo>
                      <a:lnTo>
                        <a:pt x="76" y="389"/>
                      </a:lnTo>
                      <a:lnTo>
                        <a:pt x="70" y="395"/>
                      </a:lnTo>
                      <a:lnTo>
                        <a:pt x="64" y="395"/>
                      </a:lnTo>
                      <a:lnTo>
                        <a:pt x="35" y="401"/>
                      </a:lnTo>
                      <a:lnTo>
                        <a:pt x="35" y="395"/>
                      </a:lnTo>
                      <a:lnTo>
                        <a:pt x="18" y="401"/>
                      </a:lnTo>
                      <a:lnTo>
                        <a:pt x="6" y="401"/>
                      </a:lnTo>
                      <a:lnTo>
                        <a:pt x="0" y="401"/>
                      </a:lnTo>
                      <a:lnTo>
                        <a:pt x="6" y="401"/>
                      </a:lnTo>
                      <a:lnTo>
                        <a:pt x="12" y="395"/>
                      </a:lnTo>
                      <a:lnTo>
                        <a:pt x="18" y="395"/>
                      </a:lnTo>
                      <a:lnTo>
                        <a:pt x="47" y="377"/>
                      </a:lnTo>
                      <a:lnTo>
                        <a:pt x="47" y="372"/>
                      </a:lnTo>
                      <a:lnTo>
                        <a:pt x="64" y="360"/>
                      </a:lnTo>
                      <a:lnTo>
                        <a:pt x="70" y="360"/>
                      </a:lnTo>
                      <a:lnTo>
                        <a:pt x="64" y="348"/>
                      </a:lnTo>
                      <a:lnTo>
                        <a:pt x="76" y="343"/>
                      </a:lnTo>
                      <a:lnTo>
                        <a:pt x="76" y="331"/>
                      </a:lnTo>
                      <a:lnTo>
                        <a:pt x="87" y="319"/>
                      </a:lnTo>
                      <a:lnTo>
                        <a:pt x="93" y="319"/>
                      </a:lnTo>
                      <a:lnTo>
                        <a:pt x="99" y="314"/>
                      </a:lnTo>
                      <a:lnTo>
                        <a:pt x="105" y="308"/>
                      </a:lnTo>
                      <a:lnTo>
                        <a:pt x="111" y="308"/>
                      </a:lnTo>
                      <a:lnTo>
                        <a:pt x="122" y="296"/>
                      </a:lnTo>
                      <a:lnTo>
                        <a:pt x="128" y="285"/>
                      </a:lnTo>
                      <a:lnTo>
                        <a:pt x="140" y="273"/>
                      </a:lnTo>
                      <a:lnTo>
                        <a:pt x="140" y="279"/>
                      </a:lnTo>
                      <a:lnTo>
                        <a:pt x="146" y="290"/>
                      </a:lnTo>
                      <a:lnTo>
                        <a:pt x="163" y="302"/>
                      </a:lnTo>
                      <a:lnTo>
                        <a:pt x="169" y="308"/>
                      </a:lnTo>
                      <a:lnTo>
                        <a:pt x="192" y="296"/>
                      </a:lnTo>
                      <a:lnTo>
                        <a:pt x="198" y="285"/>
                      </a:lnTo>
                      <a:lnTo>
                        <a:pt x="198" y="290"/>
                      </a:lnTo>
                      <a:lnTo>
                        <a:pt x="209" y="296"/>
                      </a:lnTo>
                      <a:lnTo>
                        <a:pt x="221" y="290"/>
                      </a:lnTo>
                      <a:lnTo>
                        <a:pt x="233" y="285"/>
                      </a:lnTo>
                      <a:lnTo>
                        <a:pt x="244" y="279"/>
                      </a:lnTo>
                      <a:lnTo>
                        <a:pt x="238" y="273"/>
                      </a:lnTo>
                      <a:lnTo>
                        <a:pt x="238" y="267"/>
                      </a:lnTo>
                      <a:lnTo>
                        <a:pt x="250" y="273"/>
                      </a:lnTo>
                      <a:lnTo>
                        <a:pt x="273" y="261"/>
                      </a:lnTo>
                      <a:lnTo>
                        <a:pt x="285" y="250"/>
                      </a:lnTo>
                      <a:lnTo>
                        <a:pt x="291" y="238"/>
                      </a:lnTo>
                      <a:lnTo>
                        <a:pt x="291" y="232"/>
                      </a:lnTo>
                      <a:lnTo>
                        <a:pt x="285" y="232"/>
                      </a:lnTo>
                      <a:lnTo>
                        <a:pt x="291" y="221"/>
                      </a:lnTo>
                      <a:lnTo>
                        <a:pt x="291" y="209"/>
                      </a:lnTo>
                      <a:lnTo>
                        <a:pt x="302" y="198"/>
                      </a:lnTo>
                      <a:lnTo>
                        <a:pt x="302" y="192"/>
                      </a:lnTo>
                      <a:lnTo>
                        <a:pt x="308" y="186"/>
                      </a:lnTo>
                      <a:lnTo>
                        <a:pt x="308" y="174"/>
                      </a:lnTo>
                      <a:lnTo>
                        <a:pt x="308" y="163"/>
                      </a:lnTo>
                      <a:lnTo>
                        <a:pt x="314" y="157"/>
                      </a:lnTo>
                      <a:lnTo>
                        <a:pt x="320" y="145"/>
                      </a:lnTo>
                      <a:lnTo>
                        <a:pt x="320" y="116"/>
                      </a:lnTo>
                      <a:lnTo>
                        <a:pt x="331" y="122"/>
                      </a:lnTo>
                      <a:lnTo>
                        <a:pt x="343" y="134"/>
                      </a:lnTo>
                      <a:lnTo>
                        <a:pt x="354" y="134"/>
                      </a:lnTo>
                      <a:lnTo>
                        <a:pt x="360" y="128"/>
                      </a:lnTo>
                      <a:lnTo>
                        <a:pt x="360" y="122"/>
                      </a:lnTo>
                      <a:lnTo>
                        <a:pt x="366" y="122"/>
                      </a:lnTo>
                      <a:lnTo>
                        <a:pt x="360" y="122"/>
                      </a:lnTo>
                      <a:lnTo>
                        <a:pt x="372" y="87"/>
                      </a:lnTo>
                      <a:lnTo>
                        <a:pt x="372" y="82"/>
                      </a:lnTo>
                      <a:lnTo>
                        <a:pt x="389" y="87"/>
                      </a:lnTo>
                      <a:lnTo>
                        <a:pt x="395" y="70"/>
                      </a:lnTo>
                      <a:lnTo>
                        <a:pt x="407" y="53"/>
                      </a:lnTo>
                      <a:lnTo>
                        <a:pt x="407" y="47"/>
                      </a:lnTo>
                      <a:lnTo>
                        <a:pt x="412" y="47"/>
                      </a:lnTo>
                      <a:lnTo>
                        <a:pt x="418" y="41"/>
                      </a:lnTo>
                      <a:lnTo>
                        <a:pt x="418" y="18"/>
                      </a:lnTo>
                      <a:lnTo>
                        <a:pt x="418" y="0"/>
                      </a:lnTo>
                      <a:lnTo>
                        <a:pt x="424" y="0"/>
                      </a:lnTo>
                      <a:lnTo>
                        <a:pt x="424" y="6"/>
                      </a:lnTo>
                      <a:lnTo>
                        <a:pt x="430" y="6"/>
                      </a:lnTo>
                      <a:lnTo>
                        <a:pt x="436" y="12"/>
                      </a:lnTo>
                      <a:lnTo>
                        <a:pt x="442" y="12"/>
                      </a:lnTo>
                      <a:lnTo>
                        <a:pt x="447" y="18"/>
                      </a:lnTo>
                      <a:lnTo>
                        <a:pt x="453" y="18"/>
                      </a:lnTo>
                      <a:lnTo>
                        <a:pt x="471" y="29"/>
                      </a:lnTo>
                      <a:lnTo>
                        <a:pt x="471" y="12"/>
                      </a:lnTo>
                      <a:lnTo>
                        <a:pt x="471" y="6"/>
                      </a:lnTo>
                      <a:lnTo>
                        <a:pt x="476" y="6"/>
                      </a:lnTo>
                      <a:lnTo>
                        <a:pt x="476" y="0"/>
                      </a:lnTo>
                      <a:lnTo>
                        <a:pt x="482" y="6"/>
                      </a:lnTo>
                      <a:lnTo>
                        <a:pt x="494" y="6"/>
                      </a:lnTo>
                      <a:lnTo>
                        <a:pt x="500" y="12"/>
                      </a:lnTo>
                      <a:lnTo>
                        <a:pt x="494" y="24"/>
                      </a:lnTo>
                      <a:lnTo>
                        <a:pt x="511" y="24"/>
                      </a:lnTo>
                      <a:lnTo>
                        <a:pt x="517" y="24"/>
                      </a:lnTo>
                      <a:lnTo>
                        <a:pt x="523" y="29"/>
                      </a:lnTo>
                      <a:lnTo>
                        <a:pt x="534" y="35"/>
                      </a:lnTo>
                      <a:lnTo>
                        <a:pt x="540" y="41"/>
                      </a:lnTo>
                      <a:lnTo>
                        <a:pt x="546" y="41"/>
                      </a:lnTo>
                      <a:lnTo>
                        <a:pt x="546" y="47"/>
                      </a:lnTo>
                      <a:lnTo>
                        <a:pt x="546" y="53"/>
                      </a:lnTo>
                      <a:lnTo>
                        <a:pt x="546" y="58"/>
                      </a:lnTo>
                      <a:lnTo>
                        <a:pt x="540" y="64"/>
                      </a:lnTo>
                      <a:lnTo>
                        <a:pt x="540" y="70"/>
                      </a:lnTo>
                      <a:lnTo>
                        <a:pt x="534" y="70"/>
                      </a:lnTo>
                      <a:lnTo>
                        <a:pt x="534" y="82"/>
                      </a:lnTo>
                      <a:lnTo>
                        <a:pt x="529" y="87"/>
                      </a:lnTo>
                      <a:lnTo>
                        <a:pt x="529" y="93"/>
                      </a:lnTo>
                      <a:lnTo>
                        <a:pt x="534" y="105"/>
                      </a:lnTo>
                      <a:lnTo>
                        <a:pt x="540" y="105"/>
                      </a:lnTo>
                      <a:lnTo>
                        <a:pt x="558" y="93"/>
                      </a:lnTo>
                      <a:lnTo>
                        <a:pt x="563" y="105"/>
                      </a:lnTo>
                      <a:lnTo>
                        <a:pt x="563" y="111"/>
                      </a:lnTo>
                      <a:lnTo>
                        <a:pt x="569" y="111"/>
                      </a:lnTo>
                      <a:lnTo>
                        <a:pt x="575" y="116"/>
                      </a:lnTo>
                      <a:lnTo>
                        <a:pt x="598" y="111"/>
                      </a:lnTo>
                      <a:lnTo>
                        <a:pt x="610" y="122"/>
                      </a:lnTo>
                      <a:lnTo>
                        <a:pt x="639" y="134"/>
                      </a:lnTo>
                      <a:lnTo>
                        <a:pt x="633" y="151"/>
                      </a:lnTo>
                      <a:lnTo>
                        <a:pt x="639" y="157"/>
                      </a:lnTo>
                      <a:lnTo>
                        <a:pt x="639" y="163"/>
                      </a:lnTo>
                      <a:lnTo>
                        <a:pt x="621" y="169"/>
                      </a:lnTo>
                      <a:lnTo>
                        <a:pt x="616" y="157"/>
                      </a:lnTo>
                      <a:lnTo>
                        <a:pt x="604" y="151"/>
                      </a:lnTo>
                      <a:lnTo>
                        <a:pt x="592" y="145"/>
                      </a:lnTo>
                      <a:lnTo>
                        <a:pt x="598" y="151"/>
                      </a:lnTo>
                      <a:lnTo>
                        <a:pt x="604" y="157"/>
                      </a:lnTo>
                      <a:lnTo>
                        <a:pt x="610" y="157"/>
                      </a:lnTo>
                      <a:lnTo>
                        <a:pt x="616" y="169"/>
                      </a:lnTo>
                      <a:lnTo>
                        <a:pt x="639" y="174"/>
                      </a:lnTo>
                      <a:lnTo>
                        <a:pt x="639" y="180"/>
                      </a:lnTo>
                      <a:lnTo>
                        <a:pt x="645" y="180"/>
                      </a:lnTo>
                      <a:lnTo>
                        <a:pt x="650" y="192"/>
                      </a:lnTo>
                      <a:lnTo>
                        <a:pt x="639" y="192"/>
                      </a:lnTo>
                      <a:lnTo>
                        <a:pt x="633" y="198"/>
                      </a:lnTo>
                      <a:lnTo>
                        <a:pt x="645" y="203"/>
                      </a:lnTo>
                      <a:lnTo>
                        <a:pt x="633" y="209"/>
                      </a:lnTo>
                      <a:lnTo>
                        <a:pt x="633" y="215"/>
                      </a:lnTo>
                      <a:lnTo>
                        <a:pt x="645" y="209"/>
                      </a:lnTo>
                      <a:lnTo>
                        <a:pt x="645" y="215"/>
                      </a:lnTo>
                      <a:close/>
                    </a:path>
                  </a:pathLst>
                </a:custGeom>
                <a:solidFill>
                  <a:srgbClr val="70AD47">
                    <a:lumMod val="60000"/>
                    <a:lumOff val="4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31" name="Freeform 30"/>
                <p:cNvSpPr>
                  <a:spLocks/>
                </p:cNvSpPr>
                <p:nvPr/>
              </p:nvSpPr>
              <p:spPr bwMode="auto">
                <a:xfrm>
                  <a:off x="5966283" y="2043043"/>
                  <a:ext cx="654051" cy="644352"/>
                </a:xfrm>
                <a:custGeom>
                  <a:avLst/>
                  <a:gdLst>
                    <a:gd name="T0" fmla="*/ 105 w 412"/>
                    <a:gd name="T1" fmla="*/ 151 h 406"/>
                    <a:gd name="T2" fmla="*/ 116 w 412"/>
                    <a:gd name="T3" fmla="*/ 133 h 406"/>
                    <a:gd name="T4" fmla="*/ 128 w 412"/>
                    <a:gd name="T5" fmla="*/ 122 h 406"/>
                    <a:gd name="T6" fmla="*/ 128 w 412"/>
                    <a:gd name="T7" fmla="*/ 93 h 406"/>
                    <a:gd name="T8" fmla="*/ 134 w 412"/>
                    <a:gd name="T9" fmla="*/ 75 h 406"/>
                    <a:gd name="T10" fmla="*/ 140 w 412"/>
                    <a:gd name="T11" fmla="*/ 46 h 406"/>
                    <a:gd name="T12" fmla="*/ 140 w 412"/>
                    <a:gd name="T13" fmla="*/ 29 h 406"/>
                    <a:gd name="T14" fmla="*/ 134 w 412"/>
                    <a:gd name="T15" fmla="*/ 6 h 406"/>
                    <a:gd name="T16" fmla="*/ 140 w 412"/>
                    <a:gd name="T17" fmla="*/ 6 h 406"/>
                    <a:gd name="T18" fmla="*/ 145 w 412"/>
                    <a:gd name="T19" fmla="*/ 29 h 406"/>
                    <a:gd name="T20" fmla="*/ 151 w 412"/>
                    <a:gd name="T21" fmla="*/ 64 h 406"/>
                    <a:gd name="T22" fmla="*/ 157 w 412"/>
                    <a:gd name="T23" fmla="*/ 75 h 406"/>
                    <a:gd name="T24" fmla="*/ 169 w 412"/>
                    <a:gd name="T25" fmla="*/ 104 h 406"/>
                    <a:gd name="T26" fmla="*/ 215 w 412"/>
                    <a:gd name="T27" fmla="*/ 93 h 406"/>
                    <a:gd name="T28" fmla="*/ 238 w 412"/>
                    <a:gd name="T29" fmla="*/ 93 h 406"/>
                    <a:gd name="T30" fmla="*/ 256 w 412"/>
                    <a:gd name="T31" fmla="*/ 110 h 406"/>
                    <a:gd name="T32" fmla="*/ 273 w 412"/>
                    <a:gd name="T33" fmla="*/ 127 h 406"/>
                    <a:gd name="T34" fmla="*/ 290 w 412"/>
                    <a:gd name="T35" fmla="*/ 110 h 406"/>
                    <a:gd name="T36" fmla="*/ 325 w 412"/>
                    <a:gd name="T37" fmla="*/ 93 h 406"/>
                    <a:gd name="T38" fmla="*/ 348 w 412"/>
                    <a:gd name="T39" fmla="*/ 81 h 406"/>
                    <a:gd name="T40" fmla="*/ 366 w 412"/>
                    <a:gd name="T41" fmla="*/ 69 h 406"/>
                    <a:gd name="T42" fmla="*/ 395 w 412"/>
                    <a:gd name="T43" fmla="*/ 87 h 406"/>
                    <a:gd name="T44" fmla="*/ 412 w 412"/>
                    <a:gd name="T45" fmla="*/ 104 h 406"/>
                    <a:gd name="T46" fmla="*/ 407 w 412"/>
                    <a:gd name="T47" fmla="*/ 127 h 406"/>
                    <a:gd name="T48" fmla="*/ 378 w 412"/>
                    <a:gd name="T49" fmla="*/ 110 h 406"/>
                    <a:gd name="T50" fmla="*/ 360 w 412"/>
                    <a:gd name="T51" fmla="*/ 104 h 406"/>
                    <a:gd name="T52" fmla="*/ 354 w 412"/>
                    <a:gd name="T53" fmla="*/ 116 h 406"/>
                    <a:gd name="T54" fmla="*/ 343 w 412"/>
                    <a:gd name="T55" fmla="*/ 145 h 406"/>
                    <a:gd name="T56" fmla="*/ 325 w 412"/>
                    <a:gd name="T57" fmla="*/ 185 h 406"/>
                    <a:gd name="T58" fmla="*/ 296 w 412"/>
                    <a:gd name="T59" fmla="*/ 220 h 406"/>
                    <a:gd name="T60" fmla="*/ 296 w 412"/>
                    <a:gd name="T61" fmla="*/ 226 h 406"/>
                    <a:gd name="T62" fmla="*/ 267 w 412"/>
                    <a:gd name="T63" fmla="*/ 220 h 406"/>
                    <a:gd name="T64" fmla="*/ 250 w 412"/>
                    <a:gd name="T65" fmla="*/ 255 h 406"/>
                    <a:gd name="T66" fmla="*/ 244 w 412"/>
                    <a:gd name="T67" fmla="*/ 284 h 406"/>
                    <a:gd name="T68" fmla="*/ 227 w 412"/>
                    <a:gd name="T69" fmla="*/ 307 h 406"/>
                    <a:gd name="T70" fmla="*/ 227 w 412"/>
                    <a:gd name="T71" fmla="*/ 330 h 406"/>
                    <a:gd name="T72" fmla="*/ 209 w 412"/>
                    <a:gd name="T73" fmla="*/ 359 h 406"/>
                    <a:gd name="T74" fmla="*/ 174 w 412"/>
                    <a:gd name="T75" fmla="*/ 371 h 406"/>
                    <a:gd name="T76" fmla="*/ 157 w 412"/>
                    <a:gd name="T77" fmla="*/ 388 h 406"/>
                    <a:gd name="T78" fmla="*/ 134 w 412"/>
                    <a:gd name="T79" fmla="*/ 383 h 406"/>
                    <a:gd name="T80" fmla="*/ 99 w 412"/>
                    <a:gd name="T81" fmla="*/ 400 h 406"/>
                    <a:gd name="T82" fmla="*/ 76 w 412"/>
                    <a:gd name="T83" fmla="*/ 371 h 406"/>
                    <a:gd name="T84" fmla="*/ 35 w 412"/>
                    <a:gd name="T85" fmla="*/ 348 h 406"/>
                    <a:gd name="T86" fmla="*/ 18 w 412"/>
                    <a:gd name="T87" fmla="*/ 330 h 406"/>
                    <a:gd name="T88" fmla="*/ 6 w 412"/>
                    <a:gd name="T89" fmla="*/ 301 h 406"/>
                    <a:gd name="T90" fmla="*/ 12 w 412"/>
                    <a:gd name="T91" fmla="*/ 278 h 406"/>
                    <a:gd name="T92" fmla="*/ 29 w 412"/>
                    <a:gd name="T93" fmla="*/ 261 h 406"/>
                    <a:gd name="T94" fmla="*/ 29 w 412"/>
                    <a:gd name="T95" fmla="*/ 238 h 406"/>
                    <a:gd name="T96" fmla="*/ 41 w 412"/>
                    <a:gd name="T97" fmla="*/ 203 h 406"/>
                    <a:gd name="T98" fmla="*/ 64 w 412"/>
                    <a:gd name="T99" fmla="*/ 209 h 406"/>
                    <a:gd name="T100" fmla="*/ 64 w 412"/>
                    <a:gd name="T101" fmla="*/ 180 h 406"/>
                    <a:gd name="T102" fmla="*/ 82 w 412"/>
                    <a:gd name="T103" fmla="*/ 156 h 40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412"/>
                    <a:gd name="T157" fmla="*/ 0 h 406"/>
                    <a:gd name="T158" fmla="*/ 412 w 412"/>
                    <a:gd name="T159" fmla="*/ 406 h 406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412" h="406">
                      <a:moveTo>
                        <a:pt x="93" y="162"/>
                      </a:moveTo>
                      <a:lnTo>
                        <a:pt x="99" y="156"/>
                      </a:lnTo>
                      <a:lnTo>
                        <a:pt x="105" y="151"/>
                      </a:lnTo>
                      <a:lnTo>
                        <a:pt x="111" y="145"/>
                      </a:lnTo>
                      <a:lnTo>
                        <a:pt x="116" y="139"/>
                      </a:lnTo>
                      <a:lnTo>
                        <a:pt x="116" y="133"/>
                      </a:lnTo>
                      <a:lnTo>
                        <a:pt x="122" y="127"/>
                      </a:lnTo>
                      <a:lnTo>
                        <a:pt x="122" y="122"/>
                      </a:lnTo>
                      <a:lnTo>
                        <a:pt x="128" y="122"/>
                      </a:lnTo>
                      <a:lnTo>
                        <a:pt x="134" y="110"/>
                      </a:lnTo>
                      <a:lnTo>
                        <a:pt x="128" y="104"/>
                      </a:lnTo>
                      <a:lnTo>
                        <a:pt x="128" y="93"/>
                      </a:lnTo>
                      <a:lnTo>
                        <a:pt x="134" y="87"/>
                      </a:lnTo>
                      <a:lnTo>
                        <a:pt x="134" y="81"/>
                      </a:lnTo>
                      <a:lnTo>
                        <a:pt x="134" y="75"/>
                      </a:lnTo>
                      <a:lnTo>
                        <a:pt x="134" y="64"/>
                      </a:lnTo>
                      <a:lnTo>
                        <a:pt x="134" y="58"/>
                      </a:lnTo>
                      <a:lnTo>
                        <a:pt x="140" y="46"/>
                      </a:lnTo>
                      <a:lnTo>
                        <a:pt x="140" y="35"/>
                      </a:lnTo>
                      <a:lnTo>
                        <a:pt x="134" y="29"/>
                      </a:lnTo>
                      <a:lnTo>
                        <a:pt x="140" y="29"/>
                      </a:lnTo>
                      <a:lnTo>
                        <a:pt x="134" y="17"/>
                      </a:lnTo>
                      <a:lnTo>
                        <a:pt x="128" y="11"/>
                      </a:lnTo>
                      <a:lnTo>
                        <a:pt x="134" y="6"/>
                      </a:lnTo>
                      <a:lnTo>
                        <a:pt x="140" y="6"/>
                      </a:lnTo>
                      <a:lnTo>
                        <a:pt x="140" y="0"/>
                      </a:lnTo>
                      <a:lnTo>
                        <a:pt x="140" y="6"/>
                      </a:lnTo>
                      <a:lnTo>
                        <a:pt x="145" y="17"/>
                      </a:lnTo>
                      <a:lnTo>
                        <a:pt x="145" y="23"/>
                      </a:lnTo>
                      <a:lnTo>
                        <a:pt x="145" y="29"/>
                      </a:lnTo>
                      <a:lnTo>
                        <a:pt x="151" y="46"/>
                      </a:lnTo>
                      <a:lnTo>
                        <a:pt x="151" y="58"/>
                      </a:lnTo>
                      <a:lnTo>
                        <a:pt x="151" y="64"/>
                      </a:lnTo>
                      <a:lnTo>
                        <a:pt x="151" y="69"/>
                      </a:lnTo>
                      <a:lnTo>
                        <a:pt x="151" y="75"/>
                      </a:lnTo>
                      <a:lnTo>
                        <a:pt x="157" y="75"/>
                      </a:lnTo>
                      <a:lnTo>
                        <a:pt x="157" y="104"/>
                      </a:lnTo>
                      <a:lnTo>
                        <a:pt x="163" y="104"/>
                      </a:lnTo>
                      <a:lnTo>
                        <a:pt x="169" y="104"/>
                      </a:lnTo>
                      <a:lnTo>
                        <a:pt x="174" y="104"/>
                      </a:lnTo>
                      <a:lnTo>
                        <a:pt x="209" y="93"/>
                      </a:lnTo>
                      <a:lnTo>
                        <a:pt x="215" y="93"/>
                      </a:lnTo>
                      <a:lnTo>
                        <a:pt x="221" y="93"/>
                      </a:lnTo>
                      <a:lnTo>
                        <a:pt x="227" y="93"/>
                      </a:lnTo>
                      <a:lnTo>
                        <a:pt x="238" y="93"/>
                      </a:lnTo>
                      <a:lnTo>
                        <a:pt x="244" y="87"/>
                      </a:lnTo>
                      <a:lnTo>
                        <a:pt x="250" y="87"/>
                      </a:lnTo>
                      <a:lnTo>
                        <a:pt x="256" y="110"/>
                      </a:lnTo>
                      <a:lnTo>
                        <a:pt x="261" y="145"/>
                      </a:lnTo>
                      <a:lnTo>
                        <a:pt x="267" y="139"/>
                      </a:lnTo>
                      <a:lnTo>
                        <a:pt x="273" y="127"/>
                      </a:lnTo>
                      <a:lnTo>
                        <a:pt x="279" y="127"/>
                      </a:lnTo>
                      <a:lnTo>
                        <a:pt x="279" y="122"/>
                      </a:lnTo>
                      <a:lnTo>
                        <a:pt x="290" y="110"/>
                      </a:lnTo>
                      <a:lnTo>
                        <a:pt x="296" y="110"/>
                      </a:lnTo>
                      <a:lnTo>
                        <a:pt x="308" y="87"/>
                      </a:lnTo>
                      <a:lnTo>
                        <a:pt x="325" y="93"/>
                      </a:lnTo>
                      <a:lnTo>
                        <a:pt x="337" y="93"/>
                      </a:lnTo>
                      <a:lnTo>
                        <a:pt x="343" y="93"/>
                      </a:lnTo>
                      <a:lnTo>
                        <a:pt x="348" y="81"/>
                      </a:lnTo>
                      <a:lnTo>
                        <a:pt x="348" y="75"/>
                      </a:lnTo>
                      <a:lnTo>
                        <a:pt x="354" y="75"/>
                      </a:lnTo>
                      <a:lnTo>
                        <a:pt x="366" y="69"/>
                      </a:lnTo>
                      <a:lnTo>
                        <a:pt x="378" y="75"/>
                      </a:lnTo>
                      <a:lnTo>
                        <a:pt x="389" y="69"/>
                      </a:lnTo>
                      <a:lnTo>
                        <a:pt x="395" y="87"/>
                      </a:lnTo>
                      <a:lnTo>
                        <a:pt x="407" y="93"/>
                      </a:lnTo>
                      <a:lnTo>
                        <a:pt x="407" y="98"/>
                      </a:lnTo>
                      <a:lnTo>
                        <a:pt x="412" y="104"/>
                      </a:lnTo>
                      <a:lnTo>
                        <a:pt x="407" y="104"/>
                      </a:lnTo>
                      <a:lnTo>
                        <a:pt x="407" y="110"/>
                      </a:lnTo>
                      <a:lnTo>
                        <a:pt x="407" y="127"/>
                      </a:lnTo>
                      <a:lnTo>
                        <a:pt x="389" y="116"/>
                      </a:lnTo>
                      <a:lnTo>
                        <a:pt x="383" y="116"/>
                      </a:lnTo>
                      <a:lnTo>
                        <a:pt x="378" y="110"/>
                      </a:lnTo>
                      <a:lnTo>
                        <a:pt x="372" y="110"/>
                      </a:lnTo>
                      <a:lnTo>
                        <a:pt x="366" y="104"/>
                      </a:lnTo>
                      <a:lnTo>
                        <a:pt x="360" y="104"/>
                      </a:lnTo>
                      <a:lnTo>
                        <a:pt x="360" y="98"/>
                      </a:lnTo>
                      <a:lnTo>
                        <a:pt x="354" y="98"/>
                      </a:lnTo>
                      <a:lnTo>
                        <a:pt x="354" y="116"/>
                      </a:lnTo>
                      <a:lnTo>
                        <a:pt x="354" y="139"/>
                      </a:lnTo>
                      <a:lnTo>
                        <a:pt x="348" y="145"/>
                      </a:lnTo>
                      <a:lnTo>
                        <a:pt x="343" y="145"/>
                      </a:lnTo>
                      <a:lnTo>
                        <a:pt x="343" y="151"/>
                      </a:lnTo>
                      <a:lnTo>
                        <a:pt x="331" y="168"/>
                      </a:lnTo>
                      <a:lnTo>
                        <a:pt x="325" y="185"/>
                      </a:lnTo>
                      <a:lnTo>
                        <a:pt x="308" y="180"/>
                      </a:lnTo>
                      <a:lnTo>
                        <a:pt x="308" y="185"/>
                      </a:lnTo>
                      <a:lnTo>
                        <a:pt x="296" y="220"/>
                      </a:lnTo>
                      <a:lnTo>
                        <a:pt x="302" y="220"/>
                      </a:lnTo>
                      <a:lnTo>
                        <a:pt x="296" y="220"/>
                      </a:lnTo>
                      <a:lnTo>
                        <a:pt x="296" y="226"/>
                      </a:lnTo>
                      <a:lnTo>
                        <a:pt x="290" y="232"/>
                      </a:lnTo>
                      <a:lnTo>
                        <a:pt x="279" y="232"/>
                      </a:lnTo>
                      <a:lnTo>
                        <a:pt x="267" y="220"/>
                      </a:lnTo>
                      <a:lnTo>
                        <a:pt x="256" y="214"/>
                      </a:lnTo>
                      <a:lnTo>
                        <a:pt x="256" y="243"/>
                      </a:lnTo>
                      <a:lnTo>
                        <a:pt x="250" y="255"/>
                      </a:lnTo>
                      <a:lnTo>
                        <a:pt x="244" y="261"/>
                      </a:lnTo>
                      <a:lnTo>
                        <a:pt x="244" y="272"/>
                      </a:lnTo>
                      <a:lnTo>
                        <a:pt x="244" y="284"/>
                      </a:lnTo>
                      <a:lnTo>
                        <a:pt x="238" y="290"/>
                      </a:lnTo>
                      <a:lnTo>
                        <a:pt x="238" y="296"/>
                      </a:lnTo>
                      <a:lnTo>
                        <a:pt x="227" y="307"/>
                      </a:lnTo>
                      <a:lnTo>
                        <a:pt x="227" y="319"/>
                      </a:lnTo>
                      <a:lnTo>
                        <a:pt x="221" y="330"/>
                      </a:lnTo>
                      <a:lnTo>
                        <a:pt x="227" y="330"/>
                      </a:lnTo>
                      <a:lnTo>
                        <a:pt x="227" y="336"/>
                      </a:lnTo>
                      <a:lnTo>
                        <a:pt x="221" y="348"/>
                      </a:lnTo>
                      <a:lnTo>
                        <a:pt x="209" y="359"/>
                      </a:lnTo>
                      <a:lnTo>
                        <a:pt x="186" y="371"/>
                      </a:lnTo>
                      <a:lnTo>
                        <a:pt x="174" y="365"/>
                      </a:lnTo>
                      <a:lnTo>
                        <a:pt x="174" y="371"/>
                      </a:lnTo>
                      <a:lnTo>
                        <a:pt x="180" y="377"/>
                      </a:lnTo>
                      <a:lnTo>
                        <a:pt x="169" y="383"/>
                      </a:lnTo>
                      <a:lnTo>
                        <a:pt x="157" y="388"/>
                      </a:lnTo>
                      <a:lnTo>
                        <a:pt x="145" y="394"/>
                      </a:lnTo>
                      <a:lnTo>
                        <a:pt x="134" y="388"/>
                      </a:lnTo>
                      <a:lnTo>
                        <a:pt x="134" y="383"/>
                      </a:lnTo>
                      <a:lnTo>
                        <a:pt x="128" y="394"/>
                      </a:lnTo>
                      <a:lnTo>
                        <a:pt x="105" y="406"/>
                      </a:lnTo>
                      <a:lnTo>
                        <a:pt x="99" y="400"/>
                      </a:lnTo>
                      <a:lnTo>
                        <a:pt x="82" y="388"/>
                      </a:lnTo>
                      <a:lnTo>
                        <a:pt x="76" y="377"/>
                      </a:lnTo>
                      <a:lnTo>
                        <a:pt x="76" y="371"/>
                      </a:lnTo>
                      <a:lnTo>
                        <a:pt x="58" y="371"/>
                      </a:lnTo>
                      <a:lnTo>
                        <a:pt x="35" y="354"/>
                      </a:lnTo>
                      <a:lnTo>
                        <a:pt x="35" y="348"/>
                      </a:lnTo>
                      <a:lnTo>
                        <a:pt x="29" y="342"/>
                      </a:lnTo>
                      <a:lnTo>
                        <a:pt x="18" y="336"/>
                      </a:lnTo>
                      <a:lnTo>
                        <a:pt x="18" y="330"/>
                      </a:lnTo>
                      <a:lnTo>
                        <a:pt x="18" y="325"/>
                      </a:lnTo>
                      <a:lnTo>
                        <a:pt x="6" y="313"/>
                      </a:lnTo>
                      <a:lnTo>
                        <a:pt x="6" y="301"/>
                      </a:lnTo>
                      <a:lnTo>
                        <a:pt x="0" y="284"/>
                      </a:lnTo>
                      <a:lnTo>
                        <a:pt x="0" y="278"/>
                      </a:lnTo>
                      <a:lnTo>
                        <a:pt x="12" y="278"/>
                      </a:lnTo>
                      <a:lnTo>
                        <a:pt x="23" y="278"/>
                      </a:lnTo>
                      <a:lnTo>
                        <a:pt x="29" y="267"/>
                      </a:lnTo>
                      <a:lnTo>
                        <a:pt x="29" y="261"/>
                      </a:lnTo>
                      <a:lnTo>
                        <a:pt x="29" y="255"/>
                      </a:lnTo>
                      <a:lnTo>
                        <a:pt x="35" y="255"/>
                      </a:lnTo>
                      <a:lnTo>
                        <a:pt x="29" y="238"/>
                      </a:lnTo>
                      <a:lnTo>
                        <a:pt x="35" y="214"/>
                      </a:lnTo>
                      <a:lnTo>
                        <a:pt x="41" y="209"/>
                      </a:lnTo>
                      <a:lnTo>
                        <a:pt x="41" y="203"/>
                      </a:lnTo>
                      <a:lnTo>
                        <a:pt x="52" y="220"/>
                      </a:lnTo>
                      <a:lnTo>
                        <a:pt x="58" y="220"/>
                      </a:lnTo>
                      <a:lnTo>
                        <a:pt x="64" y="209"/>
                      </a:lnTo>
                      <a:lnTo>
                        <a:pt x="64" y="191"/>
                      </a:lnTo>
                      <a:lnTo>
                        <a:pt x="64" y="185"/>
                      </a:lnTo>
                      <a:lnTo>
                        <a:pt x="64" y="180"/>
                      </a:lnTo>
                      <a:lnTo>
                        <a:pt x="64" y="174"/>
                      </a:lnTo>
                      <a:lnTo>
                        <a:pt x="76" y="174"/>
                      </a:lnTo>
                      <a:lnTo>
                        <a:pt x="82" y="156"/>
                      </a:lnTo>
                      <a:lnTo>
                        <a:pt x="93" y="162"/>
                      </a:lnTo>
                      <a:close/>
                    </a:path>
                  </a:pathLst>
                </a:custGeom>
                <a:solidFill>
                  <a:srgbClr val="70AD47">
                    <a:lumMod val="60000"/>
                    <a:lumOff val="4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32" name="Freeform 31"/>
                <p:cNvSpPr>
                  <a:spLocks/>
                </p:cNvSpPr>
                <p:nvPr/>
              </p:nvSpPr>
              <p:spPr bwMode="auto">
                <a:xfrm>
                  <a:off x="5631042" y="1507564"/>
                  <a:ext cx="609600" cy="671333"/>
                </a:xfrm>
                <a:custGeom>
                  <a:avLst/>
                  <a:gdLst>
                    <a:gd name="T0" fmla="*/ 128 w 384"/>
                    <a:gd name="T1" fmla="*/ 406 h 423"/>
                    <a:gd name="T2" fmla="*/ 111 w 384"/>
                    <a:gd name="T3" fmla="*/ 406 h 423"/>
                    <a:gd name="T4" fmla="*/ 93 w 384"/>
                    <a:gd name="T5" fmla="*/ 394 h 423"/>
                    <a:gd name="T6" fmla="*/ 82 w 384"/>
                    <a:gd name="T7" fmla="*/ 383 h 423"/>
                    <a:gd name="T8" fmla="*/ 64 w 384"/>
                    <a:gd name="T9" fmla="*/ 377 h 423"/>
                    <a:gd name="T10" fmla="*/ 41 w 384"/>
                    <a:gd name="T11" fmla="*/ 377 h 423"/>
                    <a:gd name="T12" fmla="*/ 35 w 384"/>
                    <a:gd name="T13" fmla="*/ 336 h 423"/>
                    <a:gd name="T14" fmla="*/ 30 w 384"/>
                    <a:gd name="T15" fmla="*/ 319 h 423"/>
                    <a:gd name="T16" fmla="*/ 30 w 384"/>
                    <a:gd name="T17" fmla="*/ 290 h 423"/>
                    <a:gd name="T18" fmla="*/ 24 w 384"/>
                    <a:gd name="T19" fmla="*/ 272 h 423"/>
                    <a:gd name="T20" fmla="*/ 24 w 384"/>
                    <a:gd name="T21" fmla="*/ 243 h 423"/>
                    <a:gd name="T22" fmla="*/ 18 w 384"/>
                    <a:gd name="T23" fmla="*/ 220 h 423"/>
                    <a:gd name="T24" fmla="*/ 18 w 384"/>
                    <a:gd name="T25" fmla="*/ 191 h 423"/>
                    <a:gd name="T26" fmla="*/ 12 w 384"/>
                    <a:gd name="T27" fmla="*/ 162 h 423"/>
                    <a:gd name="T28" fmla="*/ 6 w 384"/>
                    <a:gd name="T29" fmla="*/ 122 h 423"/>
                    <a:gd name="T30" fmla="*/ 0 w 384"/>
                    <a:gd name="T31" fmla="*/ 87 h 423"/>
                    <a:gd name="T32" fmla="*/ 35 w 384"/>
                    <a:gd name="T33" fmla="*/ 81 h 423"/>
                    <a:gd name="T34" fmla="*/ 82 w 384"/>
                    <a:gd name="T35" fmla="*/ 69 h 423"/>
                    <a:gd name="T36" fmla="*/ 105 w 384"/>
                    <a:gd name="T37" fmla="*/ 64 h 423"/>
                    <a:gd name="T38" fmla="*/ 134 w 384"/>
                    <a:gd name="T39" fmla="*/ 69 h 423"/>
                    <a:gd name="T40" fmla="*/ 180 w 384"/>
                    <a:gd name="T41" fmla="*/ 75 h 423"/>
                    <a:gd name="T42" fmla="*/ 204 w 384"/>
                    <a:gd name="T43" fmla="*/ 93 h 423"/>
                    <a:gd name="T44" fmla="*/ 233 w 384"/>
                    <a:gd name="T45" fmla="*/ 75 h 423"/>
                    <a:gd name="T46" fmla="*/ 262 w 384"/>
                    <a:gd name="T47" fmla="*/ 69 h 423"/>
                    <a:gd name="T48" fmla="*/ 320 w 384"/>
                    <a:gd name="T49" fmla="*/ 17 h 423"/>
                    <a:gd name="T50" fmla="*/ 366 w 384"/>
                    <a:gd name="T51" fmla="*/ 29 h 423"/>
                    <a:gd name="T52" fmla="*/ 372 w 384"/>
                    <a:gd name="T53" fmla="*/ 64 h 423"/>
                    <a:gd name="T54" fmla="*/ 378 w 384"/>
                    <a:gd name="T55" fmla="*/ 104 h 423"/>
                    <a:gd name="T56" fmla="*/ 378 w 384"/>
                    <a:gd name="T57" fmla="*/ 122 h 423"/>
                    <a:gd name="T58" fmla="*/ 384 w 384"/>
                    <a:gd name="T59" fmla="*/ 145 h 423"/>
                    <a:gd name="T60" fmla="*/ 372 w 384"/>
                    <a:gd name="T61" fmla="*/ 156 h 423"/>
                    <a:gd name="T62" fmla="*/ 378 w 384"/>
                    <a:gd name="T63" fmla="*/ 174 h 423"/>
                    <a:gd name="T64" fmla="*/ 378 w 384"/>
                    <a:gd name="T65" fmla="*/ 203 h 423"/>
                    <a:gd name="T66" fmla="*/ 378 w 384"/>
                    <a:gd name="T67" fmla="*/ 226 h 423"/>
                    <a:gd name="T68" fmla="*/ 372 w 384"/>
                    <a:gd name="T69" fmla="*/ 249 h 423"/>
                    <a:gd name="T70" fmla="*/ 366 w 384"/>
                    <a:gd name="T71" fmla="*/ 267 h 423"/>
                    <a:gd name="T72" fmla="*/ 360 w 384"/>
                    <a:gd name="T73" fmla="*/ 284 h 423"/>
                    <a:gd name="T74" fmla="*/ 343 w 384"/>
                    <a:gd name="T75" fmla="*/ 301 h 423"/>
                    <a:gd name="T76" fmla="*/ 320 w 384"/>
                    <a:gd name="T77" fmla="*/ 319 h 423"/>
                    <a:gd name="T78" fmla="*/ 308 w 384"/>
                    <a:gd name="T79" fmla="*/ 330 h 423"/>
                    <a:gd name="T80" fmla="*/ 302 w 384"/>
                    <a:gd name="T81" fmla="*/ 365 h 423"/>
                    <a:gd name="T82" fmla="*/ 285 w 384"/>
                    <a:gd name="T83" fmla="*/ 354 h 423"/>
                    <a:gd name="T84" fmla="*/ 279 w 384"/>
                    <a:gd name="T85" fmla="*/ 400 h 423"/>
                    <a:gd name="T86" fmla="*/ 273 w 384"/>
                    <a:gd name="T87" fmla="*/ 412 h 423"/>
                    <a:gd name="T88" fmla="*/ 244 w 384"/>
                    <a:gd name="T89" fmla="*/ 423 h 423"/>
                    <a:gd name="T90" fmla="*/ 233 w 384"/>
                    <a:gd name="T91" fmla="*/ 412 h 423"/>
                    <a:gd name="T92" fmla="*/ 215 w 384"/>
                    <a:gd name="T93" fmla="*/ 394 h 423"/>
                    <a:gd name="T94" fmla="*/ 186 w 384"/>
                    <a:gd name="T95" fmla="*/ 412 h 423"/>
                    <a:gd name="T96" fmla="*/ 175 w 384"/>
                    <a:gd name="T97" fmla="*/ 412 h 423"/>
                    <a:gd name="T98" fmla="*/ 151 w 384"/>
                    <a:gd name="T99" fmla="*/ 417 h 423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384"/>
                    <a:gd name="T151" fmla="*/ 0 h 423"/>
                    <a:gd name="T152" fmla="*/ 384 w 384"/>
                    <a:gd name="T153" fmla="*/ 423 h 423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384" h="423">
                      <a:moveTo>
                        <a:pt x="146" y="417"/>
                      </a:moveTo>
                      <a:lnTo>
                        <a:pt x="140" y="417"/>
                      </a:lnTo>
                      <a:lnTo>
                        <a:pt x="128" y="406"/>
                      </a:lnTo>
                      <a:lnTo>
                        <a:pt x="122" y="406"/>
                      </a:lnTo>
                      <a:lnTo>
                        <a:pt x="117" y="406"/>
                      </a:lnTo>
                      <a:lnTo>
                        <a:pt x="111" y="406"/>
                      </a:lnTo>
                      <a:lnTo>
                        <a:pt x="105" y="406"/>
                      </a:lnTo>
                      <a:lnTo>
                        <a:pt x="93" y="400"/>
                      </a:lnTo>
                      <a:lnTo>
                        <a:pt x="93" y="394"/>
                      </a:lnTo>
                      <a:lnTo>
                        <a:pt x="93" y="388"/>
                      </a:lnTo>
                      <a:lnTo>
                        <a:pt x="88" y="388"/>
                      </a:lnTo>
                      <a:lnTo>
                        <a:pt x="82" y="383"/>
                      </a:lnTo>
                      <a:lnTo>
                        <a:pt x="76" y="377"/>
                      </a:lnTo>
                      <a:lnTo>
                        <a:pt x="70" y="371"/>
                      </a:lnTo>
                      <a:lnTo>
                        <a:pt x="64" y="377"/>
                      </a:lnTo>
                      <a:lnTo>
                        <a:pt x="59" y="377"/>
                      </a:lnTo>
                      <a:lnTo>
                        <a:pt x="47" y="371"/>
                      </a:lnTo>
                      <a:lnTo>
                        <a:pt x="41" y="377"/>
                      </a:lnTo>
                      <a:lnTo>
                        <a:pt x="35" y="371"/>
                      </a:lnTo>
                      <a:lnTo>
                        <a:pt x="35" y="354"/>
                      </a:lnTo>
                      <a:lnTo>
                        <a:pt x="35" y="336"/>
                      </a:lnTo>
                      <a:lnTo>
                        <a:pt x="35" y="330"/>
                      </a:lnTo>
                      <a:lnTo>
                        <a:pt x="35" y="325"/>
                      </a:lnTo>
                      <a:lnTo>
                        <a:pt x="30" y="319"/>
                      </a:lnTo>
                      <a:lnTo>
                        <a:pt x="30" y="307"/>
                      </a:lnTo>
                      <a:lnTo>
                        <a:pt x="30" y="296"/>
                      </a:lnTo>
                      <a:lnTo>
                        <a:pt x="30" y="290"/>
                      </a:lnTo>
                      <a:lnTo>
                        <a:pt x="30" y="284"/>
                      </a:lnTo>
                      <a:lnTo>
                        <a:pt x="24" y="278"/>
                      </a:lnTo>
                      <a:lnTo>
                        <a:pt x="24" y="272"/>
                      </a:lnTo>
                      <a:lnTo>
                        <a:pt x="24" y="261"/>
                      </a:lnTo>
                      <a:lnTo>
                        <a:pt x="24" y="249"/>
                      </a:lnTo>
                      <a:lnTo>
                        <a:pt x="24" y="243"/>
                      </a:lnTo>
                      <a:lnTo>
                        <a:pt x="24" y="238"/>
                      </a:lnTo>
                      <a:lnTo>
                        <a:pt x="24" y="232"/>
                      </a:lnTo>
                      <a:lnTo>
                        <a:pt x="18" y="220"/>
                      </a:lnTo>
                      <a:lnTo>
                        <a:pt x="18" y="209"/>
                      </a:lnTo>
                      <a:lnTo>
                        <a:pt x="18" y="203"/>
                      </a:lnTo>
                      <a:lnTo>
                        <a:pt x="18" y="191"/>
                      </a:lnTo>
                      <a:lnTo>
                        <a:pt x="12" y="180"/>
                      </a:lnTo>
                      <a:lnTo>
                        <a:pt x="12" y="174"/>
                      </a:lnTo>
                      <a:lnTo>
                        <a:pt x="12" y="162"/>
                      </a:lnTo>
                      <a:lnTo>
                        <a:pt x="12" y="151"/>
                      </a:lnTo>
                      <a:lnTo>
                        <a:pt x="6" y="133"/>
                      </a:lnTo>
                      <a:lnTo>
                        <a:pt x="6" y="122"/>
                      </a:lnTo>
                      <a:lnTo>
                        <a:pt x="6" y="116"/>
                      </a:lnTo>
                      <a:lnTo>
                        <a:pt x="6" y="104"/>
                      </a:lnTo>
                      <a:lnTo>
                        <a:pt x="0" y="87"/>
                      </a:lnTo>
                      <a:lnTo>
                        <a:pt x="6" y="81"/>
                      </a:lnTo>
                      <a:lnTo>
                        <a:pt x="30" y="81"/>
                      </a:lnTo>
                      <a:lnTo>
                        <a:pt x="35" y="81"/>
                      </a:lnTo>
                      <a:lnTo>
                        <a:pt x="41" y="81"/>
                      </a:lnTo>
                      <a:lnTo>
                        <a:pt x="53" y="75"/>
                      </a:lnTo>
                      <a:lnTo>
                        <a:pt x="82" y="69"/>
                      </a:lnTo>
                      <a:lnTo>
                        <a:pt x="88" y="69"/>
                      </a:lnTo>
                      <a:lnTo>
                        <a:pt x="105" y="69"/>
                      </a:lnTo>
                      <a:lnTo>
                        <a:pt x="105" y="64"/>
                      </a:lnTo>
                      <a:lnTo>
                        <a:pt x="117" y="64"/>
                      </a:lnTo>
                      <a:lnTo>
                        <a:pt x="122" y="69"/>
                      </a:lnTo>
                      <a:lnTo>
                        <a:pt x="134" y="69"/>
                      </a:lnTo>
                      <a:lnTo>
                        <a:pt x="140" y="75"/>
                      </a:lnTo>
                      <a:lnTo>
                        <a:pt x="157" y="81"/>
                      </a:lnTo>
                      <a:lnTo>
                        <a:pt x="180" y="75"/>
                      </a:lnTo>
                      <a:lnTo>
                        <a:pt x="186" y="81"/>
                      </a:lnTo>
                      <a:lnTo>
                        <a:pt x="192" y="87"/>
                      </a:lnTo>
                      <a:lnTo>
                        <a:pt x="204" y="93"/>
                      </a:lnTo>
                      <a:lnTo>
                        <a:pt x="215" y="87"/>
                      </a:lnTo>
                      <a:lnTo>
                        <a:pt x="221" y="81"/>
                      </a:lnTo>
                      <a:lnTo>
                        <a:pt x="233" y="75"/>
                      </a:lnTo>
                      <a:lnTo>
                        <a:pt x="244" y="69"/>
                      </a:lnTo>
                      <a:lnTo>
                        <a:pt x="256" y="69"/>
                      </a:lnTo>
                      <a:lnTo>
                        <a:pt x="262" y="69"/>
                      </a:lnTo>
                      <a:lnTo>
                        <a:pt x="285" y="52"/>
                      </a:lnTo>
                      <a:lnTo>
                        <a:pt x="291" y="40"/>
                      </a:lnTo>
                      <a:lnTo>
                        <a:pt x="320" y="17"/>
                      </a:lnTo>
                      <a:lnTo>
                        <a:pt x="360" y="0"/>
                      </a:lnTo>
                      <a:lnTo>
                        <a:pt x="360" y="11"/>
                      </a:lnTo>
                      <a:lnTo>
                        <a:pt x="366" y="29"/>
                      </a:lnTo>
                      <a:lnTo>
                        <a:pt x="366" y="35"/>
                      </a:lnTo>
                      <a:lnTo>
                        <a:pt x="366" y="52"/>
                      </a:lnTo>
                      <a:lnTo>
                        <a:pt x="372" y="64"/>
                      </a:lnTo>
                      <a:lnTo>
                        <a:pt x="372" y="75"/>
                      </a:lnTo>
                      <a:lnTo>
                        <a:pt x="378" y="93"/>
                      </a:lnTo>
                      <a:lnTo>
                        <a:pt x="378" y="104"/>
                      </a:lnTo>
                      <a:lnTo>
                        <a:pt x="378" y="110"/>
                      </a:lnTo>
                      <a:lnTo>
                        <a:pt x="378" y="116"/>
                      </a:lnTo>
                      <a:lnTo>
                        <a:pt x="378" y="122"/>
                      </a:lnTo>
                      <a:lnTo>
                        <a:pt x="384" y="127"/>
                      </a:lnTo>
                      <a:lnTo>
                        <a:pt x="384" y="139"/>
                      </a:lnTo>
                      <a:lnTo>
                        <a:pt x="384" y="145"/>
                      </a:lnTo>
                      <a:lnTo>
                        <a:pt x="384" y="151"/>
                      </a:lnTo>
                      <a:lnTo>
                        <a:pt x="378" y="151"/>
                      </a:lnTo>
                      <a:lnTo>
                        <a:pt x="372" y="156"/>
                      </a:lnTo>
                      <a:lnTo>
                        <a:pt x="378" y="162"/>
                      </a:lnTo>
                      <a:lnTo>
                        <a:pt x="384" y="174"/>
                      </a:lnTo>
                      <a:lnTo>
                        <a:pt x="378" y="174"/>
                      </a:lnTo>
                      <a:lnTo>
                        <a:pt x="384" y="180"/>
                      </a:lnTo>
                      <a:lnTo>
                        <a:pt x="384" y="191"/>
                      </a:lnTo>
                      <a:lnTo>
                        <a:pt x="378" y="203"/>
                      </a:lnTo>
                      <a:lnTo>
                        <a:pt x="378" y="209"/>
                      </a:lnTo>
                      <a:lnTo>
                        <a:pt x="378" y="220"/>
                      </a:lnTo>
                      <a:lnTo>
                        <a:pt x="378" y="226"/>
                      </a:lnTo>
                      <a:lnTo>
                        <a:pt x="378" y="232"/>
                      </a:lnTo>
                      <a:lnTo>
                        <a:pt x="372" y="238"/>
                      </a:lnTo>
                      <a:lnTo>
                        <a:pt x="372" y="249"/>
                      </a:lnTo>
                      <a:lnTo>
                        <a:pt x="378" y="255"/>
                      </a:lnTo>
                      <a:lnTo>
                        <a:pt x="372" y="267"/>
                      </a:lnTo>
                      <a:lnTo>
                        <a:pt x="366" y="267"/>
                      </a:lnTo>
                      <a:lnTo>
                        <a:pt x="366" y="272"/>
                      </a:lnTo>
                      <a:lnTo>
                        <a:pt x="360" y="278"/>
                      </a:lnTo>
                      <a:lnTo>
                        <a:pt x="360" y="284"/>
                      </a:lnTo>
                      <a:lnTo>
                        <a:pt x="355" y="290"/>
                      </a:lnTo>
                      <a:lnTo>
                        <a:pt x="349" y="296"/>
                      </a:lnTo>
                      <a:lnTo>
                        <a:pt x="343" y="301"/>
                      </a:lnTo>
                      <a:lnTo>
                        <a:pt x="337" y="307"/>
                      </a:lnTo>
                      <a:lnTo>
                        <a:pt x="326" y="301"/>
                      </a:lnTo>
                      <a:lnTo>
                        <a:pt x="320" y="319"/>
                      </a:lnTo>
                      <a:lnTo>
                        <a:pt x="308" y="319"/>
                      </a:lnTo>
                      <a:lnTo>
                        <a:pt x="308" y="325"/>
                      </a:lnTo>
                      <a:lnTo>
                        <a:pt x="308" y="330"/>
                      </a:lnTo>
                      <a:lnTo>
                        <a:pt x="308" y="336"/>
                      </a:lnTo>
                      <a:lnTo>
                        <a:pt x="308" y="354"/>
                      </a:lnTo>
                      <a:lnTo>
                        <a:pt x="302" y="365"/>
                      </a:lnTo>
                      <a:lnTo>
                        <a:pt x="296" y="365"/>
                      </a:lnTo>
                      <a:lnTo>
                        <a:pt x="285" y="348"/>
                      </a:lnTo>
                      <a:lnTo>
                        <a:pt x="285" y="354"/>
                      </a:lnTo>
                      <a:lnTo>
                        <a:pt x="279" y="359"/>
                      </a:lnTo>
                      <a:lnTo>
                        <a:pt x="273" y="383"/>
                      </a:lnTo>
                      <a:lnTo>
                        <a:pt x="279" y="400"/>
                      </a:lnTo>
                      <a:lnTo>
                        <a:pt x="273" y="400"/>
                      </a:lnTo>
                      <a:lnTo>
                        <a:pt x="273" y="406"/>
                      </a:lnTo>
                      <a:lnTo>
                        <a:pt x="273" y="412"/>
                      </a:lnTo>
                      <a:lnTo>
                        <a:pt x="267" y="423"/>
                      </a:lnTo>
                      <a:lnTo>
                        <a:pt x="256" y="423"/>
                      </a:lnTo>
                      <a:lnTo>
                        <a:pt x="244" y="423"/>
                      </a:lnTo>
                      <a:lnTo>
                        <a:pt x="244" y="417"/>
                      </a:lnTo>
                      <a:lnTo>
                        <a:pt x="238" y="417"/>
                      </a:lnTo>
                      <a:lnTo>
                        <a:pt x="233" y="412"/>
                      </a:lnTo>
                      <a:lnTo>
                        <a:pt x="221" y="412"/>
                      </a:lnTo>
                      <a:lnTo>
                        <a:pt x="221" y="406"/>
                      </a:lnTo>
                      <a:lnTo>
                        <a:pt x="215" y="394"/>
                      </a:lnTo>
                      <a:lnTo>
                        <a:pt x="204" y="400"/>
                      </a:lnTo>
                      <a:lnTo>
                        <a:pt x="192" y="412"/>
                      </a:lnTo>
                      <a:lnTo>
                        <a:pt x="186" y="412"/>
                      </a:lnTo>
                      <a:lnTo>
                        <a:pt x="180" y="412"/>
                      </a:lnTo>
                      <a:lnTo>
                        <a:pt x="180" y="417"/>
                      </a:lnTo>
                      <a:lnTo>
                        <a:pt x="175" y="412"/>
                      </a:lnTo>
                      <a:lnTo>
                        <a:pt x="157" y="406"/>
                      </a:lnTo>
                      <a:lnTo>
                        <a:pt x="151" y="412"/>
                      </a:lnTo>
                      <a:lnTo>
                        <a:pt x="151" y="417"/>
                      </a:lnTo>
                      <a:lnTo>
                        <a:pt x="146" y="417"/>
                      </a:lnTo>
                      <a:close/>
                    </a:path>
                  </a:pathLst>
                </a:custGeom>
                <a:solidFill>
                  <a:srgbClr val="5B9BD5">
                    <a:lumMod val="20000"/>
                    <a:lumOff val="8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33" name="Freeform 32"/>
                <p:cNvSpPr>
                  <a:spLocks/>
                </p:cNvSpPr>
                <p:nvPr/>
              </p:nvSpPr>
              <p:spPr bwMode="auto">
                <a:xfrm>
                  <a:off x="5254804" y="1626592"/>
                  <a:ext cx="450851" cy="764971"/>
                </a:xfrm>
                <a:custGeom>
                  <a:avLst/>
                  <a:gdLst>
                    <a:gd name="T0" fmla="*/ 261 w 284"/>
                    <a:gd name="T1" fmla="*/ 157 h 482"/>
                    <a:gd name="T2" fmla="*/ 261 w 284"/>
                    <a:gd name="T3" fmla="*/ 174 h 482"/>
                    <a:gd name="T4" fmla="*/ 261 w 284"/>
                    <a:gd name="T5" fmla="*/ 203 h 482"/>
                    <a:gd name="T6" fmla="*/ 267 w 284"/>
                    <a:gd name="T7" fmla="*/ 221 h 482"/>
                    <a:gd name="T8" fmla="*/ 272 w 284"/>
                    <a:gd name="T9" fmla="*/ 250 h 482"/>
                    <a:gd name="T10" fmla="*/ 272 w 284"/>
                    <a:gd name="T11" fmla="*/ 279 h 482"/>
                    <a:gd name="T12" fmla="*/ 272 w 284"/>
                    <a:gd name="T13" fmla="*/ 308 h 482"/>
                    <a:gd name="T14" fmla="*/ 284 w 284"/>
                    <a:gd name="T15" fmla="*/ 325 h 482"/>
                    <a:gd name="T16" fmla="*/ 267 w 284"/>
                    <a:gd name="T17" fmla="*/ 342 h 482"/>
                    <a:gd name="T18" fmla="*/ 249 w 284"/>
                    <a:gd name="T19" fmla="*/ 354 h 482"/>
                    <a:gd name="T20" fmla="*/ 232 w 284"/>
                    <a:gd name="T21" fmla="*/ 348 h 482"/>
                    <a:gd name="T22" fmla="*/ 232 w 284"/>
                    <a:gd name="T23" fmla="*/ 371 h 482"/>
                    <a:gd name="T24" fmla="*/ 214 w 284"/>
                    <a:gd name="T25" fmla="*/ 395 h 482"/>
                    <a:gd name="T26" fmla="*/ 197 w 284"/>
                    <a:gd name="T27" fmla="*/ 412 h 482"/>
                    <a:gd name="T28" fmla="*/ 191 w 284"/>
                    <a:gd name="T29" fmla="*/ 441 h 482"/>
                    <a:gd name="T30" fmla="*/ 162 w 284"/>
                    <a:gd name="T31" fmla="*/ 429 h 482"/>
                    <a:gd name="T32" fmla="*/ 150 w 284"/>
                    <a:gd name="T33" fmla="*/ 429 h 482"/>
                    <a:gd name="T34" fmla="*/ 139 w 284"/>
                    <a:gd name="T35" fmla="*/ 441 h 482"/>
                    <a:gd name="T36" fmla="*/ 127 w 284"/>
                    <a:gd name="T37" fmla="*/ 458 h 482"/>
                    <a:gd name="T38" fmla="*/ 110 w 284"/>
                    <a:gd name="T39" fmla="*/ 453 h 482"/>
                    <a:gd name="T40" fmla="*/ 75 w 284"/>
                    <a:gd name="T41" fmla="*/ 464 h 482"/>
                    <a:gd name="T42" fmla="*/ 58 w 284"/>
                    <a:gd name="T43" fmla="*/ 458 h 482"/>
                    <a:gd name="T44" fmla="*/ 34 w 284"/>
                    <a:gd name="T45" fmla="*/ 464 h 482"/>
                    <a:gd name="T46" fmla="*/ 17 w 284"/>
                    <a:gd name="T47" fmla="*/ 470 h 482"/>
                    <a:gd name="T48" fmla="*/ 5 w 284"/>
                    <a:gd name="T49" fmla="*/ 482 h 482"/>
                    <a:gd name="T50" fmla="*/ 5 w 284"/>
                    <a:gd name="T51" fmla="*/ 441 h 482"/>
                    <a:gd name="T52" fmla="*/ 23 w 284"/>
                    <a:gd name="T53" fmla="*/ 406 h 482"/>
                    <a:gd name="T54" fmla="*/ 34 w 284"/>
                    <a:gd name="T55" fmla="*/ 389 h 482"/>
                    <a:gd name="T56" fmla="*/ 40 w 284"/>
                    <a:gd name="T57" fmla="*/ 354 h 482"/>
                    <a:gd name="T58" fmla="*/ 29 w 284"/>
                    <a:gd name="T59" fmla="*/ 325 h 482"/>
                    <a:gd name="T60" fmla="*/ 34 w 284"/>
                    <a:gd name="T61" fmla="*/ 284 h 482"/>
                    <a:gd name="T62" fmla="*/ 29 w 284"/>
                    <a:gd name="T63" fmla="*/ 250 h 482"/>
                    <a:gd name="T64" fmla="*/ 23 w 284"/>
                    <a:gd name="T65" fmla="*/ 215 h 482"/>
                    <a:gd name="T66" fmla="*/ 23 w 284"/>
                    <a:gd name="T67" fmla="*/ 180 h 482"/>
                    <a:gd name="T68" fmla="*/ 23 w 284"/>
                    <a:gd name="T69" fmla="*/ 157 h 482"/>
                    <a:gd name="T70" fmla="*/ 17 w 284"/>
                    <a:gd name="T71" fmla="*/ 116 h 482"/>
                    <a:gd name="T72" fmla="*/ 17 w 284"/>
                    <a:gd name="T73" fmla="*/ 99 h 482"/>
                    <a:gd name="T74" fmla="*/ 11 w 284"/>
                    <a:gd name="T75" fmla="*/ 81 h 482"/>
                    <a:gd name="T76" fmla="*/ 11 w 284"/>
                    <a:gd name="T77" fmla="*/ 58 h 482"/>
                    <a:gd name="T78" fmla="*/ 23 w 284"/>
                    <a:gd name="T79" fmla="*/ 41 h 482"/>
                    <a:gd name="T80" fmla="*/ 58 w 284"/>
                    <a:gd name="T81" fmla="*/ 29 h 482"/>
                    <a:gd name="T82" fmla="*/ 75 w 284"/>
                    <a:gd name="T83" fmla="*/ 23 h 482"/>
                    <a:gd name="T84" fmla="*/ 104 w 284"/>
                    <a:gd name="T85" fmla="*/ 18 h 482"/>
                    <a:gd name="T86" fmla="*/ 139 w 284"/>
                    <a:gd name="T87" fmla="*/ 12 h 482"/>
                    <a:gd name="T88" fmla="*/ 179 w 284"/>
                    <a:gd name="T89" fmla="*/ 12 h 482"/>
                    <a:gd name="T90" fmla="*/ 203 w 284"/>
                    <a:gd name="T91" fmla="*/ 6 h 482"/>
                    <a:gd name="T92" fmla="*/ 237 w 284"/>
                    <a:gd name="T93" fmla="*/ 0 h 482"/>
                    <a:gd name="T94" fmla="*/ 243 w 284"/>
                    <a:gd name="T95" fmla="*/ 41 h 482"/>
                    <a:gd name="T96" fmla="*/ 249 w 284"/>
                    <a:gd name="T97" fmla="*/ 76 h 482"/>
                    <a:gd name="T98" fmla="*/ 249 w 284"/>
                    <a:gd name="T99" fmla="*/ 105 h 482"/>
                    <a:gd name="T100" fmla="*/ 255 w 284"/>
                    <a:gd name="T101" fmla="*/ 134 h 482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284"/>
                    <a:gd name="T154" fmla="*/ 0 h 482"/>
                    <a:gd name="T155" fmla="*/ 284 w 284"/>
                    <a:gd name="T156" fmla="*/ 482 h 482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284" h="482">
                      <a:moveTo>
                        <a:pt x="255" y="134"/>
                      </a:moveTo>
                      <a:lnTo>
                        <a:pt x="255" y="145"/>
                      </a:lnTo>
                      <a:lnTo>
                        <a:pt x="261" y="157"/>
                      </a:lnTo>
                      <a:lnTo>
                        <a:pt x="261" y="163"/>
                      </a:lnTo>
                      <a:lnTo>
                        <a:pt x="261" y="168"/>
                      </a:lnTo>
                      <a:lnTo>
                        <a:pt x="261" y="174"/>
                      </a:lnTo>
                      <a:lnTo>
                        <a:pt x="261" y="186"/>
                      </a:lnTo>
                      <a:lnTo>
                        <a:pt x="261" y="197"/>
                      </a:lnTo>
                      <a:lnTo>
                        <a:pt x="261" y="203"/>
                      </a:lnTo>
                      <a:lnTo>
                        <a:pt x="267" y="209"/>
                      </a:lnTo>
                      <a:lnTo>
                        <a:pt x="267" y="215"/>
                      </a:lnTo>
                      <a:lnTo>
                        <a:pt x="267" y="221"/>
                      </a:lnTo>
                      <a:lnTo>
                        <a:pt x="267" y="232"/>
                      </a:lnTo>
                      <a:lnTo>
                        <a:pt x="267" y="244"/>
                      </a:lnTo>
                      <a:lnTo>
                        <a:pt x="272" y="250"/>
                      </a:lnTo>
                      <a:lnTo>
                        <a:pt x="272" y="255"/>
                      </a:lnTo>
                      <a:lnTo>
                        <a:pt x="272" y="261"/>
                      </a:lnTo>
                      <a:lnTo>
                        <a:pt x="272" y="279"/>
                      </a:lnTo>
                      <a:lnTo>
                        <a:pt x="272" y="296"/>
                      </a:lnTo>
                      <a:lnTo>
                        <a:pt x="278" y="302"/>
                      </a:lnTo>
                      <a:lnTo>
                        <a:pt x="272" y="308"/>
                      </a:lnTo>
                      <a:lnTo>
                        <a:pt x="272" y="313"/>
                      </a:lnTo>
                      <a:lnTo>
                        <a:pt x="272" y="325"/>
                      </a:lnTo>
                      <a:lnTo>
                        <a:pt x="284" y="325"/>
                      </a:lnTo>
                      <a:lnTo>
                        <a:pt x="284" y="331"/>
                      </a:lnTo>
                      <a:lnTo>
                        <a:pt x="278" y="337"/>
                      </a:lnTo>
                      <a:lnTo>
                        <a:pt x="267" y="342"/>
                      </a:lnTo>
                      <a:lnTo>
                        <a:pt x="261" y="342"/>
                      </a:lnTo>
                      <a:lnTo>
                        <a:pt x="255" y="348"/>
                      </a:lnTo>
                      <a:lnTo>
                        <a:pt x="249" y="354"/>
                      </a:lnTo>
                      <a:lnTo>
                        <a:pt x="243" y="348"/>
                      </a:lnTo>
                      <a:lnTo>
                        <a:pt x="237" y="348"/>
                      </a:lnTo>
                      <a:lnTo>
                        <a:pt x="232" y="348"/>
                      </a:lnTo>
                      <a:lnTo>
                        <a:pt x="226" y="366"/>
                      </a:lnTo>
                      <a:lnTo>
                        <a:pt x="232" y="366"/>
                      </a:lnTo>
                      <a:lnTo>
                        <a:pt x="232" y="371"/>
                      </a:lnTo>
                      <a:lnTo>
                        <a:pt x="226" y="383"/>
                      </a:lnTo>
                      <a:lnTo>
                        <a:pt x="214" y="389"/>
                      </a:lnTo>
                      <a:lnTo>
                        <a:pt x="214" y="395"/>
                      </a:lnTo>
                      <a:lnTo>
                        <a:pt x="203" y="406"/>
                      </a:lnTo>
                      <a:lnTo>
                        <a:pt x="197" y="406"/>
                      </a:lnTo>
                      <a:lnTo>
                        <a:pt x="197" y="412"/>
                      </a:lnTo>
                      <a:lnTo>
                        <a:pt x="191" y="418"/>
                      </a:lnTo>
                      <a:lnTo>
                        <a:pt x="191" y="424"/>
                      </a:lnTo>
                      <a:lnTo>
                        <a:pt x="191" y="441"/>
                      </a:lnTo>
                      <a:lnTo>
                        <a:pt x="185" y="441"/>
                      </a:lnTo>
                      <a:lnTo>
                        <a:pt x="162" y="435"/>
                      </a:lnTo>
                      <a:lnTo>
                        <a:pt x="162" y="429"/>
                      </a:lnTo>
                      <a:lnTo>
                        <a:pt x="156" y="424"/>
                      </a:lnTo>
                      <a:lnTo>
                        <a:pt x="150" y="424"/>
                      </a:lnTo>
                      <a:lnTo>
                        <a:pt x="150" y="429"/>
                      </a:lnTo>
                      <a:lnTo>
                        <a:pt x="145" y="429"/>
                      </a:lnTo>
                      <a:lnTo>
                        <a:pt x="145" y="435"/>
                      </a:lnTo>
                      <a:lnTo>
                        <a:pt x="139" y="441"/>
                      </a:lnTo>
                      <a:lnTo>
                        <a:pt x="133" y="458"/>
                      </a:lnTo>
                      <a:lnTo>
                        <a:pt x="127" y="464"/>
                      </a:lnTo>
                      <a:lnTo>
                        <a:pt x="127" y="458"/>
                      </a:lnTo>
                      <a:lnTo>
                        <a:pt x="121" y="458"/>
                      </a:lnTo>
                      <a:lnTo>
                        <a:pt x="116" y="447"/>
                      </a:lnTo>
                      <a:lnTo>
                        <a:pt x="110" y="453"/>
                      </a:lnTo>
                      <a:lnTo>
                        <a:pt x="98" y="458"/>
                      </a:lnTo>
                      <a:lnTo>
                        <a:pt x="87" y="476"/>
                      </a:lnTo>
                      <a:lnTo>
                        <a:pt x="75" y="464"/>
                      </a:lnTo>
                      <a:lnTo>
                        <a:pt x="69" y="464"/>
                      </a:lnTo>
                      <a:lnTo>
                        <a:pt x="63" y="458"/>
                      </a:lnTo>
                      <a:lnTo>
                        <a:pt x="58" y="458"/>
                      </a:lnTo>
                      <a:lnTo>
                        <a:pt x="40" y="464"/>
                      </a:lnTo>
                      <a:lnTo>
                        <a:pt x="40" y="476"/>
                      </a:lnTo>
                      <a:lnTo>
                        <a:pt x="34" y="464"/>
                      </a:lnTo>
                      <a:lnTo>
                        <a:pt x="29" y="470"/>
                      </a:lnTo>
                      <a:lnTo>
                        <a:pt x="17" y="464"/>
                      </a:lnTo>
                      <a:lnTo>
                        <a:pt x="17" y="470"/>
                      </a:lnTo>
                      <a:lnTo>
                        <a:pt x="11" y="470"/>
                      </a:lnTo>
                      <a:lnTo>
                        <a:pt x="11" y="482"/>
                      </a:lnTo>
                      <a:lnTo>
                        <a:pt x="5" y="482"/>
                      </a:lnTo>
                      <a:lnTo>
                        <a:pt x="0" y="470"/>
                      </a:lnTo>
                      <a:lnTo>
                        <a:pt x="5" y="453"/>
                      </a:lnTo>
                      <a:lnTo>
                        <a:pt x="5" y="441"/>
                      </a:lnTo>
                      <a:lnTo>
                        <a:pt x="5" y="429"/>
                      </a:lnTo>
                      <a:lnTo>
                        <a:pt x="23" y="412"/>
                      </a:lnTo>
                      <a:lnTo>
                        <a:pt x="23" y="406"/>
                      </a:lnTo>
                      <a:lnTo>
                        <a:pt x="23" y="400"/>
                      </a:lnTo>
                      <a:lnTo>
                        <a:pt x="29" y="400"/>
                      </a:lnTo>
                      <a:lnTo>
                        <a:pt x="34" y="389"/>
                      </a:lnTo>
                      <a:lnTo>
                        <a:pt x="46" y="371"/>
                      </a:lnTo>
                      <a:lnTo>
                        <a:pt x="40" y="360"/>
                      </a:lnTo>
                      <a:lnTo>
                        <a:pt x="40" y="354"/>
                      </a:lnTo>
                      <a:lnTo>
                        <a:pt x="34" y="342"/>
                      </a:lnTo>
                      <a:lnTo>
                        <a:pt x="29" y="331"/>
                      </a:lnTo>
                      <a:lnTo>
                        <a:pt x="29" y="325"/>
                      </a:lnTo>
                      <a:lnTo>
                        <a:pt x="29" y="313"/>
                      </a:lnTo>
                      <a:lnTo>
                        <a:pt x="34" y="302"/>
                      </a:lnTo>
                      <a:lnTo>
                        <a:pt x="34" y="284"/>
                      </a:lnTo>
                      <a:lnTo>
                        <a:pt x="29" y="273"/>
                      </a:lnTo>
                      <a:lnTo>
                        <a:pt x="29" y="261"/>
                      </a:lnTo>
                      <a:lnTo>
                        <a:pt x="29" y="250"/>
                      </a:lnTo>
                      <a:lnTo>
                        <a:pt x="29" y="238"/>
                      </a:lnTo>
                      <a:lnTo>
                        <a:pt x="29" y="221"/>
                      </a:lnTo>
                      <a:lnTo>
                        <a:pt x="23" y="215"/>
                      </a:lnTo>
                      <a:lnTo>
                        <a:pt x="23" y="209"/>
                      </a:lnTo>
                      <a:lnTo>
                        <a:pt x="23" y="192"/>
                      </a:lnTo>
                      <a:lnTo>
                        <a:pt x="23" y="180"/>
                      </a:lnTo>
                      <a:lnTo>
                        <a:pt x="23" y="174"/>
                      </a:lnTo>
                      <a:lnTo>
                        <a:pt x="23" y="163"/>
                      </a:lnTo>
                      <a:lnTo>
                        <a:pt x="23" y="157"/>
                      </a:lnTo>
                      <a:lnTo>
                        <a:pt x="17" y="145"/>
                      </a:lnTo>
                      <a:lnTo>
                        <a:pt x="17" y="122"/>
                      </a:lnTo>
                      <a:lnTo>
                        <a:pt x="17" y="116"/>
                      </a:lnTo>
                      <a:lnTo>
                        <a:pt x="17" y="110"/>
                      </a:lnTo>
                      <a:lnTo>
                        <a:pt x="17" y="105"/>
                      </a:lnTo>
                      <a:lnTo>
                        <a:pt x="17" y="99"/>
                      </a:lnTo>
                      <a:lnTo>
                        <a:pt x="17" y="93"/>
                      </a:lnTo>
                      <a:lnTo>
                        <a:pt x="11" y="87"/>
                      </a:lnTo>
                      <a:lnTo>
                        <a:pt x="11" y="81"/>
                      </a:lnTo>
                      <a:lnTo>
                        <a:pt x="11" y="76"/>
                      </a:lnTo>
                      <a:lnTo>
                        <a:pt x="11" y="70"/>
                      </a:lnTo>
                      <a:lnTo>
                        <a:pt x="11" y="58"/>
                      </a:lnTo>
                      <a:lnTo>
                        <a:pt x="11" y="52"/>
                      </a:lnTo>
                      <a:lnTo>
                        <a:pt x="11" y="35"/>
                      </a:lnTo>
                      <a:lnTo>
                        <a:pt x="23" y="41"/>
                      </a:lnTo>
                      <a:lnTo>
                        <a:pt x="34" y="41"/>
                      </a:lnTo>
                      <a:lnTo>
                        <a:pt x="40" y="41"/>
                      </a:lnTo>
                      <a:lnTo>
                        <a:pt x="58" y="29"/>
                      </a:lnTo>
                      <a:lnTo>
                        <a:pt x="63" y="23"/>
                      </a:lnTo>
                      <a:lnTo>
                        <a:pt x="69" y="23"/>
                      </a:lnTo>
                      <a:lnTo>
                        <a:pt x="75" y="23"/>
                      </a:lnTo>
                      <a:lnTo>
                        <a:pt x="87" y="18"/>
                      </a:lnTo>
                      <a:lnTo>
                        <a:pt x="92" y="18"/>
                      </a:lnTo>
                      <a:lnTo>
                        <a:pt x="104" y="18"/>
                      </a:lnTo>
                      <a:lnTo>
                        <a:pt x="116" y="18"/>
                      </a:lnTo>
                      <a:lnTo>
                        <a:pt x="133" y="18"/>
                      </a:lnTo>
                      <a:lnTo>
                        <a:pt x="139" y="12"/>
                      </a:lnTo>
                      <a:lnTo>
                        <a:pt x="156" y="12"/>
                      </a:lnTo>
                      <a:lnTo>
                        <a:pt x="168" y="12"/>
                      </a:lnTo>
                      <a:lnTo>
                        <a:pt x="179" y="12"/>
                      </a:lnTo>
                      <a:lnTo>
                        <a:pt x="191" y="6"/>
                      </a:lnTo>
                      <a:lnTo>
                        <a:pt x="197" y="6"/>
                      </a:lnTo>
                      <a:lnTo>
                        <a:pt x="203" y="6"/>
                      </a:lnTo>
                      <a:lnTo>
                        <a:pt x="208" y="6"/>
                      </a:lnTo>
                      <a:lnTo>
                        <a:pt x="220" y="6"/>
                      </a:lnTo>
                      <a:lnTo>
                        <a:pt x="237" y="0"/>
                      </a:lnTo>
                      <a:lnTo>
                        <a:pt x="237" y="12"/>
                      </a:lnTo>
                      <a:lnTo>
                        <a:pt x="243" y="29"/>
                      </a:lnTo>
                      <a:lnTo>
                        <a:pt x="243" y="41"/>
                      </a:lnTo>
                      <a:lnTo>
                        <a:pt x="243" y="47"/>
                      </a:lnTo>
                      <a:lnTo>
                        <a:pt x="243" y="58"/>
                      </a:lnTo>
                      <a:lnTo>
                        <a:pt x="249" y="76"/>
                      </a:lnTo>
                      <a:lnTo>
                        <a:pt x="249" y="87"/>
                      </a:lnTo>
                      <a:lnTo>
                        <a:pt x="249" y="99"/>
                      </a:lnTo>
                      <a:lnTo>
                        <a:pt x="249" y="105"/>
                      </a:lnTo>
                      <a:lnTo>
                        <a:pt x="255" y="116"/>
                      </a:lnTo>
                      <a:lnTo>
                        <a:pt x="255" y="128"/>
                      </a:lnTo>
                      <a:lnTo>
                        <a:pt x="255" y="134"/>
                      </a:lnTo>
                      <a:close/>
                    </a:path>
                  </a:pathLst>
                </a:custGeom>
                <a:solidFill>
                  <a:srgbClr val="5B9BD5">
                    <a:lumMod val="20000"/>
                    <a:lumOff val="8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34" name="Freeform 33"/>
                <p:cNvSpPr>
                  <a:spLocks/>
                </p:cNvSpPr>
                <p:nvPr/>
              </p:nvSpPr>
              <p:spPr bwMode="auto">
                <a:xfrm>
                  <a:off x="5036010" y="2401722"/>
                  <a:ext cx="1050925" cy="542780"/>
                </a:xfrm>
                <a:custGeom>
                  <a:avLst/>
                  <a:gdLst>
                    <a:gd name="T0" fmla="*/ 424 w 662"/>
                    <a:gd name="T1" fmla="*/ 290 h 342"/>
                    <a:gd name="T2" fmla="*/ 401 w 662"/>
                    <a:gd name="T3" fmla="*/ 290 h 342"/>
                    <a:gd name="T4" fmla="*/ 360 w 662"/>
                    <a:gd name="T5" fmla="*/ 296 h 342"/>
                    <a:gd name="T6" fmla="*/ 325 w 662"/>
                    <a:gd name="T7" fmla="*/ 296 h 342"/>
                    <a:gd name="T8" fmla="*/ 296 w 662"/>
                    <a:gd name="T9" fmla="*/ 302 h 342"/>
                    <a:gd name="T10" fmla="*/ 273 w 662"/>
                    <a:gd name="T11" fmla="*/ 302 h 342"/>
                    <a:gd name="T12" fmla="*/ 238 w 662"/>
                    <a:gd name="T13" fmla="*/ 302 h 342"/>
                    <a:gd name="T14" fmla="*/ 209 w 662"/>
                    <a:gd name="T15" fmla="*/ 307 h 342"/>
                    <a:gd name="T16" fmla="*/ 168 w 662"/>
                    <a:gd name="T17" fmla="*/ 313 h 342"/>
                    <a:gd name="T18" fmla="*/ 122 w 662"/>
                    <a:gd name="T19" fmla="*/ 319 h 342"/>
                    <a:gd name="T20" fmla="*/ 81 w 662"/>
                    <a:gd name="T21" fmla="*/ 336 h 342"/>
                    <a:gd name="T22" fmla="*/ 41 w 662"/>
                    <a:gd name="T23" fmla="*/ 342 h 342"/>
                    <a:gd name="T24" fmla="*/ 6 w 662"/>
                    <a:gd name="T25" fmla="*/ 325 h 342"/>
                    <a:gd name="T26" fmla="*/ 23 w 662"/>
                    <a:gd name="T27" fmla="*/ 313 h 342"/>
                    <a:gd name="T28" fmla="*/ 17 w 662"/>
                    <a:gd name="T29" fmla="*/ 284 h 342"/>
                    <a:gd name="T30" fmla="*/ 29 w 662"/>
                    <a:gd name="T31" fmla="*/ 255 h 342"/>
                    <a:gd name="T32" fmla="*/ 70 w 662"/>
                    <a:gd name="T33" fmla="*/ 273 h 342"/>
                    <a:gd name="T34" fmla="*/ 81 w 662"/>
                    <a:gd name="T35" fmla="*/ 232 h 342"/>
                    <a:gd name="T36" fmla="*/ 110 w 662"/>
                    <a:gd name="T37" fmla="*/ 220 h 342"/>
                    <a:gd name="T38" fmla="*/ 110 w 662"/>
                    <a:gd name="T39" fmla="*/ 186 h 342"/>
                    <a:gd name="T40" fmla="*/ 122 w 662"/>
                    <a:gd name="T41" fmla="*/ 168 h 342"/>
                    <a:gd name="T42" fmla="*/ 145 w 662"/>
                    <a:gd name="T43" fmla="*/ 168 h 342"/>
                    <a:gd name="T44" fmla="*/ 180 w 662"/>
                    <a:gd name="T45" fmla="*/ 168 h 342"/>
                    <a:gd name="T46" fmla="*/ 221 w 662"/>
                    <a:gd name="T47" fmla="*/ 151 h 342"/>
                    <a:gd name="T48" fmla="*/ 238 w 662"/>
                    <a:gd name="T49" fmla="*/ 162 h 342"/>
                    <a:gd name="T50" fmla="*/ 255 w 662"/>
                    <a:gd name="T51" fmla="*/ 133 h 342"/>
                    <a:gd name="T52" fmla="*/ 267 w 662"/>
                    <a:gd name="T53" fmla="*/ 139 h 342"/>
                    <a:gd name="T54" fmla="*/ 296 w 662"/>
                    <a:gd name="T55" fmla="*/ 122 h 342"/>
                    <a:gd name="T56" fmla="*/ 319 w 662"/>
                    <a:gd name="T57" fmla="*/ 99 h 342"/>
                    <a:gd name="T58" fmla="*/ 337 w 662"/>
                    <a:gd name="T59" fmla="*/ 70 h 342"/>
                    <a:gd name="T60" fmla="*/ 348 w 662"/>
                    <a:gd name="T61" fmla="*/ 52 h 342"/>
                    <a:gd name="T62" fmla="*/ 372 w 662"/>
                    <a:gd name="T63" fmla="*/ 46 h 342"/>
                    <a:gd name="T64" fmla="*/ 377 w 662"/>
                    <a:gd name="T65" fmla="*/ 29 h 342"/>
                    <a:gd name="T66" fmla="*/ 389 w 662"/>
                    <a:gd name="T67" fmla="*/ 0 h 342"/>
                    <a:gd name="T68" fmla="*/ 418 w 662"/>
                    <a:gd name="T69" fmla="*/ 6 h 342"/>
                    <a:gd name="T70" fmla="*/ 435 w 662"/>
                    <a:gd name="T71" fmla="*/ 23 h 342"/>
                    <a:gd name="T72" fmla="*/ 459 w 662"/>
                    <a:gd name="T73" fmla="*/ 35 h 342"/>
                    <a:gd name="T74" fmla="*/ 488 w 662"/>
                    <a:gd name="T75" fmla="*/ 46 h 342"/>
                    <a:gd name="T76" fmla="*/ 517 w 662"/>
                    <a:gd name="T77" fmla="*/ 41 h 342"/>
                    <a:gd name="T78" fmla="*/ 534 w 662"/>
                    <a:gd name="T79" fmla="*/ 41 h 342"/>
                    <a:gd name="T80" fmla="*/ 563 w 662"/>
                    <a:gd name="T81" fmla="*/ 41 h 342"/>
                    <a:gd name="T82" fmla="*/ 586 w 662"/>
                    <a:gd name="T83" fmla="*/ 52 h 342"/>
                    <a:gd name="T84" fmla="*/ 604 w 662"/>
                    <a:gd name="T85" fmla="*/ 99 h 342"/>
                    <a:gd name="T86" fmla="*/ 621 w 662"/>
                    <a:gd name="T87" fmla="*/ 122 h 342"/>
                    <a:gd name="T88" fmla="*/ 650 w 662"/>
                    <a:gd name="T89" fmla="*/ 157 h 342"/>
                    <a:gd name="T90" fmla="*/ 621 w 662"/>
                    <a:gd name="T91" fmla="*/ 186 h 342"/>
                    <a:gd name="T92" fmla="*/ 598 w 662"/>
                    <a:gd name="T93" fmla="*/ 215 h 342"/>
                    <a:gd name="T94" fmla="*/ 569 w 662"/>
                    <a:gd name="T95" fmla="*/ 244 h 342"/>
                    <a:gd name="T96" fmla="*/ 528 w 662"/>
                    <a:gd name="T97" fmla="*/ 273 h 342"/>
                    <a:gd name="T98" fmla="*/ 499 w 662"/>
                    <a:gd name="T99" fmla="*/ 278 h 342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662"/>
                    <a:gd name="T151" fmla="*/ 0 h 342"/>
                    <a:gd name="T152" fmla="*/ 662 w 662"/>
                    <a:gd name="T153" fmla="*/ 342 h 342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662" h="342">
                      <a:moveTo>
                        <a:pt x="470" y="284"/>
                      </a:moveTo>
                      <a:lnTo>
                        <a:pt x="453" y="284"/>
                      </a:lnTo>
                      <a:lnTo>
                        <a:pt x="441" y="284"/>
                      </a:lnTo>
                      <a:lnTo>
                        <a:pt x="424" y="290"/>
                      </a:lnTo>
                      <a:lnTo>
                        <a:pt x="418" y="290"/>
                      </a:lnTo>
                      <a:lnTo>
                        <a:pt x="412" y="290"/>
                      </a:lnTo>
                      <a:lnTo>
                        <a:pt x="406" y="290"/>
                      </a:lnTo>
                      <a:lnTo>
                        <a:pt x="401" y="290"/>
                      </a:lnTo>
                      <a:lnTo>
                        <a:pt x="389" y="290"/>
                      </a:lnTo>
                      <a:lnTo>
                        <a:pt x="377" y="290"/>
                      </a:lnTo>
                      <a:lnTo>
                        <a:pt x="372" y="290"/>
                      </a:lnTo>
                      <a:lnTo>
                        <a:pt x="360" y="296"/>
                      </a:lnTo>
                      <a:lnTo>
                        <a:pt x="354" y="296"/>
                      </a:lnTo>
                      <a:lnTo>
                        <a:pt x="342" y="296"/>
                      </a:lnTo>
                      <a:lnTo>
                        <a:pt x="331" y="296"/>
                      </a:lnTo>
                      <a:lnTo>
                        <a:pt x="325" y="296"/>
                      </a:lnTo>
                      <a:lnTo>
                        <a:pt x="319" y="296"/>
                      </a:lnTo>
                      <a:lnTo>
                        <a:pt x="313" y="296"/>
                      </a:lnTo>
                      <a:lnTo>
                        <a:pt x="308" y="296"/>
                      </a:lnTo>
                      <a:lnTo>
                        <a:pt x="296" y="302"/>
                      </a:lnTo>
                      <a:lnTo>
                        <a:pt x="290" y="302"/>
                      </a:lnTo>
                      <a:lnTo>
                        <a:pt x="284" y="302"/>
                      </a:lnTo>
                      <a:lnTo>
                        <a:pt x="279" y="302"/>
                      </a:lnTo>
                      <a:lnTo>
                        <a:pt x="273" y="302"/>
                      </a:lnTo>
                      <a:lnTo>
                        <a:pt x="261" y="302"/>
                      </a:lnTo>
                      <a:lnTo>
                        <a:pt x="255" y="302"/>
                      </a:lnTo>
                      <a:lnTo>
                        <a:pt x="244" y="302"/>
                      </a:lnTo>
                      <a:lnTo>
                        <a:pt x="238" y="302"/>
                      </a:lnTo>
                      <a:lnTo>
                        <a:pt x="232" y="307"/>
                      </a:lnTo>
                      <a:lnTo>
                        <a:pt x="226" y="307"/>
                      </a:lnTo>
                      <a:lnTo>
                        <a:pt x="215" y="307"/>
                      </a:lnTo>
                      <a:lnTo>
                        <a:pt x="209" y="307"/>
                      </a:lnTo>
                      <a:lnTo>
                        <a:pt x="197" y="307"/>
                      </a:lnTo>
                      <a:lnTo>
                        <a:pt x="186" y="307"/>
                      </a:lnTo>
                      <a:lnTo>
                        <a:pt x="174" y="313"/>
                      </a:lnTo>
                      <a:lnTo>
                        <a:pt x="168" y="313"/>
                      </a:lnTo>
                      <a:lnTo>
                        <a:pt x="157" y="313"/>
                      </a:lnTo>
                      <a:lnTo>
                        <a:pt x="139" y="313"/>
                      </a:lnTo>
                      <a:lnTo>
                        <a:pt x="122" y="313"/>
                      </a:lnTo>
                      <a:lnTo>
                        <a:pt x="122" y="319"/>
                      </a:lnTo>
                      <a:lnTo>
                        <a:pt x="122" y="331"/>
                      </a:lnTo>
                      <a:lnTo>
                        <a:pt x="105" y="336"/>
                      </a:lnTo>
                      <a:lnTo>
                        <a:pt x="93" y="336"/>
                      </a:lnTo>
                      <a:lnTo>
                        <a:pt x="81" y="336"/>
                      </a:lnTo>
                      <a:lnTo>
                        <a:pt x="76" y="336"/>
                      </a:lnTo>
                      <a:lnTo>
                        <a:pt x="58" y="336"/>
                      </a:lnTo>
                      <a:lnTo>
                        <a:pt x="52" y="336"/>
                      </a:lnTo>
                      <a:lnTo>
                        <a:pt x="41" y="342"/>
                      </a:lnTo>
                      <a:lnTo>
                        <a:pt x="6" y="342"/>
                      </a:lnTo>
                      <a:lnTo>
                        <a:pt x="0" y="342"/>
                      </a:lnTo>
                      <a:lnTo>
                        <a:pt x="0" y="331"/>
                      </a:lnTo>
                      <a:lnTo>
                        <a:pt x="6" y="325"/>
                      </a:lnTo>
                      <a:lnTo>
                        <a:pt x="12" y="336"/>
                      </a:lnTo>
                      <a:lnTo>
                        <a:pt x="17" y="325"/>
                      </a:lnTo>
                      <a:lnTo>
                        <a:pt x="17" y="313"/>
                      </a:lnTo>
                      <a:lnTo>
                        <a:pt x="23" y="313"/>
                      </a:lnTo>
                      <a:lnTo>
                        <a:pt x="23" y="307"/>
                      </a:lnTo>
                      <a:lnTo>
                        <a:pt x="23" y="296"/>
                      </a:lnTo>
                      <a:lnTo>
                        <a:pt x="23" y="290"/>
                      </a:lnTo>
                      <a:lnTo>
                        <a:pt x="17" y="284"/>
                      </a:lnTo>
                      <a:lnTo>
                        <a:pt x="12" y="278"/>
                      </a:lnTo>
                      <a:lnTo>
                        <a:pt x="17" y="278"/>
                      </a:lnTo>
                      <a:lnTo>
                        <a:pt x="17" y="273"/>
                      </a:lnTo>
                      <a:lnTo>
                        <a:pt x="29" y="255"/>
                      </a:lnTo>
                      <a:lnTo>
                        <a:pt x="35" y="255"/>
                      </a:lnTo>
                      <a:lnTo>
                        <a:pt x="52" y="261"/>
                      </a:lnTo>
                      <a:lnTo>
                        <a:pt x="64" y="267"/>
                      </a:lnTo>
                      <a:lnTo>
                        <a:pt x="70" y="273"/>
                      </a:lnTo>
                      <a:lnTo>
                        <a:pt x="76" y="273"/>
                      </a:lnTo>
                      <a:lnTo>
                        <a:pt x="81" y="267"/>
                      </a:lnTo>
                      <a:lnTo>
                        <a:pt x="76" y="249"/>
                      </a:lnTo>
                      <a:lnTo>
                        <a:pt x="81" y="232"/>
                      </a:lnTo>
                      <a:lnTo>
                        <a:pt x="87" y="232"/>
                      </a:lnTo>
                      <a:lnTo>
                        <a:pt x="93" y="226"/>
                      </a:lnTo>
                      <a:lnTo>
                        <a:pt x="105" y="220"/>
                      </a:lnTo>
                      <a:lnTo>
                        <a:pt x="110" y="220"/>
                      </a:lnTo>
                      <a:lnTo>
                        <a:pt x="105" y="209"/>
                      </a:lnTo>
                      <a:lnTo>
                        <a:pt x="105" y="203"/>
                      </a:lnTo>
                      <a:lnTo>
                        <a:pt x="105" y="197"/>
                      </a:lnTo>
                      <a:lnTo>
                        <a:pt x="110" y="186"/>
                      </a:lnTo>
                      <a:lnTo>
                        <a:pt x="116" y="186"/>
                      </a:lnTo>
                      <a:lnTo>
                        <a:pt x="116" y="174"/>
                      </a:lnTo>
                      <a:lnTo>
                        <a:pt x="122" y="174"/>
                      </a:lnTo>
                      <a:lnTo>
                        <a:pt x="122" y="168"/>
                      </a:lnTo>
                      <a:lnTo>
                        <a:pt x="134" y="174"/>
                      </a:lnTo>
                      <a:lnTo>
                        <a:pt x="139" y="168"/>
                      </a:lnTo>
                      <a:lnTo>
                        <a:pt x="145" y="180"/>
                      </a:lnTo>
                      <a:lnTo>
                        <a:pt x="145" y="168"/>
                      </a:lnTo>
                      <a:lnTo>
                        <a:pt x="163" y="162"/>
                      </a:lnTo>
                      <a:lnTo>
                        <a:pt x="168" y="162"/>
                      </a:lnTo>
                      <a:lnTo>
                        <a:pt x="174" y="168"/>
                      </a:lnTo>
                      <a:lnTo>
                        <a:pt x="180" y="168"/>
                      </a:lnTo>
                      <a:lnTo>
                        <a:pt x="192" y="180"/>
                      </a:lnTo>
                      <a:lnTo>
                        <a:pt x="203" y="162"/>
                      </a:lnTo>
                      <a:lnTo>
                        <a:pt x="215" y="157"/>
                      </a:lnTo>
                      <a:lnTo>
                        <a:pt x="221" y="151"/>
                      </a:lnTo>
                      <a:lnTo>
                        <a:pt x="226" y="162"/>
                      </a:lnTo>
                      <a:lnTo>
                        <a:pt x="232" y="162"/>
                      </a:lnTo>
                      <a:lnTo>
                        <a:pt x="232" y="168"/>
                      </a:lnTo>
                      <a:lnTo>
                        <a:pt x="238" y="162"/>
                      </a:lnTo>
                      <a:lnTo>
                        <a:pt x="244" y="145"/>
                      </a:lnTo>
                      <a:lnTo>
                        <a:pt x="250" y="139"/>
                      </a:lnTo>
                      <a:lnTo>
                        <a:pt x="250" y="133"/>
                      </a:lnTo>
                      <a:lnTo>
                        <a:pt x="255" y="133"/>
                      </a:lnTo>
                      <a:lnTo>
                        <a:pt x="255" y="128"/>
                      </a:lnTo>
                      <a:lnTo>
                        <a:pt x="261" y="128"/>
                      </a:lnTo>
                      <a:lnTo>
                        <a:pt x="267" y="133"/>
                      </a:lnTo>
                      <a:lnTo>
                        <a:pt x="267" y="139"/>
                      </a:lnTo>
                      <a:lnTo>
                        <a:pt x="290" y="145"/>
                      </a:lnTo>
                      <a:lnTo>
                        <a:pt x="296" y="145"/>
                      </a:lnTo>
                      <a:lnTo>
                        <a:pt x="296" y="128"/>
                      </a:lnTo>
                      <a:lnTo>
                        <a:pt x="296" y="122"/>
                      </a:lnTo>
                      <a:lnTo>
                        <a:pt x="302" y="116"/>
                      </a:lnTo>
                      <a:lnTo>
                        <a:pt x="302" y="110"/>
                      </a:lnTo>
                      <a:lnTo>
                        <a:pt x="308" y="110"/>
                      </a:lnTo>
                      <a:lnTo>
                        <a:pt x="319" y="99"/>
                      </a:lnTo>
                      <a:lnTo>
                        <a:pt x="319" y="93"/>
                      </a:lnTo>
                      <a:lnTo>
                        <a:pt x="331" y="87"/>
                      </a:lnTo>
                      <a:lnTo>
                        <a:pt x="337" y="75"/>
                      </a:lnTo>
                      <a:lnTo>
                        <a:pt x="337" y="70"/>
                      </a:lnTo>
                      <a:lnTo>
                        <a:pt x="331" y="70"/>
                      </a:lnTo>
                      <a:lnTo>
                        <a:pt x="337" y="52"/>
                      </a:lnTo>
                      <a:lnTo>
                        <a:pt x="342" y="52"/>
                      </a:lnTo>
                      <a:lnTo>
                        <a:pt x="348" y="52"/>
                      </a:lnTo>
                      <a:lnTo>
                        <a:pt x="354" y="58"/>
                      </a:lnTo>
                      <a:lnTo>
                        <a:pt x="360" y="52"/>
                      </a:lnTo>
                      <a:lnTo>
                        <a:pt x="366" y="46"/>
                      </a:lnTo>
                      <a:lnTo>
                        <a:pt x="372" y="46"/>
                      </a:lnTo>
                      <a:lnTo>
                        <a:pt x="383" y="41"/>
                      </a:lnTo>
                      <a:lnTo>
                        <a:pt x="389" y="35"/>
                      </a:lnTo>
                      <a:lnTo>
                        <a:pt x="389" y="29"/>
                      </a:lnTo>
                      <a:lnTo>
                        <a:pt x="377" y="29"/>
                      </a:lnTo>
                      <a:lnTo>
                        <a:pt x="377" y="17"/>
                      </a:lnTo>
                      <a:lnTo>
                        <a:pt x="377" y="12"/>
                      </a:lnTo>
                      <a:lnTo>
                        <a:pt x="383" y="6"/>
                      </a:lnTo>
                      <a:lnTo>
                        <a:pt x="389" y="0"/>
                      </a:lnTo>
                      <a:lnTo>
                        <a:pt x="401" y="6"/>
                      </a:lnTo>
                      <a:lnTo>
                        <a:pt x="406" y="6"/>
                      </a:lnTo>
                      <a:lnTo>
                        <a:pt x="412" y="0"/>
                      </a:lnTo>
                      <a:lnTo>
                        <a:pt x="418" y="6"/>
                      </a:lnTo>
                      <a:lnTo>
                        <a:pt x="424" y="12"/>
                      </a:lnTo>
                      <a:lnTo>
                        <a:pt x="430" y="17"/>
                      </a:lnTo>
                      <a:lnTo>
                        <a:pt x="435" y="17"/>
                      </a:lnTo>
                      <a:lnTo>
                        <a:pt x="435" y="23"/>
                      </a:lnTo>
                      <a:lnTo>
                        <a:pt x="435" y="29"/>
                      </a:lnTo>
                      <a:lnTo>
                        <a:pt x="447" y="35"/>
                      </a:lnTo>
                      <a:lnTo>
                        <a:pt x="453" y="35"/>
                      </a:lnTo>
                      <a:lnTo>
                        <a:pt x="459" y="35"/>
                      </a:lnTo>
                      <a:lnTo>
                        <a:pt x="464" y="35"/>
                      </a:lnTo>
                      <a:lnTo>
                        <a:pt x="470" y="35"/>
                      </a:lnTo>
                      <a:lnTo>
                        <a:pt x="482" y="46"/>
                      </a:lnTo>
                      <a:lnTo>
                        <a:pt x="488" y="46"/>
                      </a:lnTo>
                      <a:lnTo>
                        <a:pt x="493" y="46"/>
                      </a:lnTo>
                      <a:lnTo>
                        <a:pt x="493" y="41"/>
                      </a:lnTo>
                      <a:lnTo>
                        <a:pt x="499" y="35"/>
                      </a:lnTo>
                      <a:lnTo>
                        <a:pt x="517" y="41"/>
                      </a:lnTo>
                      <a:lnTo>
                        <a:pt x="522" y="46"/>
                      </a:lnTo>
                      <a:lnTo>
                        <a:pt x="522" y="41"/>
                      </a:lnTo>
                      <a:lnTo>
                        <a:pt x="528" y="41"/>
                      </a:lnTo>
                      <a:lnTo>
                        <a:pt x="534" y="41"/>
                      </a:lnTo>
                      <a:lnTo>
                        <a:pt x="546" y="29"/>
                      </a:lnTo>
                      <a:lnTo>
                        <a:pt x="557" y="23"/>
                      </a:lnTo>
                      <a:lnTo>
                        <a:pt x="563" y="35"/>
                      </a:lnTo>
                      <a:lnTo>
                        <a:pt x="563" y="41"/>
                      </a:lnTo>
                      <a:lnTo>
                        <a:pt x="575" y="41"/>
                      </a:lnTo>
                      <a:lnTo>
                        <a:pt x="580" y="46"/>
                      </a:lnTo>
                      <a:lnTo>
                        <a:pt x="586" y="46"/>
                      </a:lnTo>
                      <a:lnTo>
                        <a:pt x="586" y="52"/>
                      </a:lnTo>
                      <a:lnTo>
                        <a:pt x="586" y="58"/>
                      </a:lnTo>
                      <a:lnTo>
                        <a:pt x="592" y="75"/>
                      </a:lnTo>
                      <a:lnTo>
                        <a:pt x="592" y="87"/>
                      </a:lnTo>
                      <a:lnTo>
                        <a:pt x="604" y="99"/>
                      </a:lnTo>
                      <a:lnTo>
                        <a:pt x="604" y="104"/>
                      </a:lnTo>
                      <a:lnTo>
                        <a:pt x="604" y="110"/>
                      </a:lnTo>
                      <a:lnTo>
                        <a:pt x="615" y="116"/>
                      </a:lnTo>
                      <a:lnTo>
                        <a:pt x="621" y="122"/>
                      </a:lnTo>
                      <a:lnTo>
                        <a:pt x="621" y="128"/>
                      </a:lnTo>
                      <a:lnTo>
                        <a:pt x="644" y="145"/>
                      </a:lnTo>
                      <a:lnTo>
                        <a:pt x="662" y="145"/>
                      </a:lnTo>
                      <a:lnTo>
                        <a:pt x="650" y="157"/>
                      </a:lnTo>
                      <a:lnTo>
                        <a:pt x="644" y="168"/>
                      </a:lnTo>
                      <a:lnTo>
                        <a:pt x="633" y="180"/>
                      </a:lnTo>
                      <a:lnTo>
                        <a:pt x="627" y="180"/>
                      </a:lnTo>
                      <a:lnTo>
                        <a:pt x="621" y="186"/>
                      </a:lnTo>
                      <a:lnTo>
                        <a:pt x="615" y="191"/>
                      </a:lnTo>
                      <a:lnTo>
                        <a:pt x="609" y="191"/>
                      </a:lnTo>
                      <a:lnTo>
                        <a:pt x="598" y="203"/>
                      </a:lnTo>
                      <a:lnTo>
                        <a:pt x="598" y="215"/>
                      </a:lnTo>
                      <a:lnTo>
                        <a:pt x="586" y="220"/>
                      </a:lnTo>
                      <a:lnTo>
                        <a:pt x="592" y="232"/>
                      </a:lnTo>
                      <a:lnTo>
                        <a:pt x="586" y="232"/>
                      </a:lnTo>
                      <a:lnTo>
                        <a:pt x="569" y="244"/>
                      </a:lnTo>
                      <a:lnTo>
                        <a:pt x="569" y="249"/>
                      </a:lnTo>
                      <a:lnTo>
                        <a:pt x="540" y="267"/>
                      </a:lnTo>
                      <a:lnTo>
                        <a:pt x="534" y="267"/>
                      </a:lnTo>
                      <a:lnTo>
                        <a:pt x="528" y="273"/>
                      </a:lnTo>
                      <a:lnTo>
                        <a:pt x="522" y="273"/>
                      </a:lnTo>
                      <a:lnTo>
                        <a:pt x="522" y="278"/>
                      </a:lnTo>
                      <a:lnTo>
                        <a:pt x="511" y="278"/>
                      </a:lnTo>
                      <a:lnTo>
                        <a:pt x="499" y="278"/>
                      </a:lnTo>
                      <a:lnTo>
                        <a:pt x="493" y="278"/>
                      </a:lnTo>
                      <a:lnTo>
                        <a:pt x="482" y="278"/>
                      </a:lnTo>
                      <a:lnTo>
                        <a:pt x="470" y="284"/>
                      </a:lnTo>
                      <a:close/>
                    </a:path>
                  </a:pathLst>
                </a:custGeom>
                <a:solidFill>
                  <a:srgbClr val="70AD47">
                    <a:lumMod val="60000"/>
                    <a:lumOff val="4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35" name="Freeform 34"/>
                <p:cNvSpPr>
                  <a:spLocks/>
                </p:cNvSpPr>
                <p:nvPr/>
              </p:nvSpPr>
              <p:spPr bwMode="auto">
                <a:xfrm>
                  <a:off x="4808538" y="2705964"/>
                  <a:ext cx="1588" cy="9522"/>
                </a:xfrm>
                <a:custGeom>
                  <a:avLst/>
                  <a:gdLst>
                    <a:gd name="T0" fmla="*/ 0 w 1"/>
                    <a:gd name="T1" fmla="*/ 0 h 6"/>
                    <a:gd name="T2" fmla="*/ 0 w 1"/>
                    <a:gd name="T3" fmla="*/ 6 h 6"/>
                    <a:gd name="T4" fmla="*/ 0 w 1"/>
                    <a:gd name="T5" fmla="*/ 0 h 6"/>
                    <a:gd name="T6" fmla="*/ 0 60000 65536"/>
                    <a:gd name="T7" fmla="*/ 0 60000 65536"/>
                    <a:gd name="T8" fmla="*/ 0 60000 65536"/>
                    <a:gd name="T9" fmla="*/ 0 w 1"/>
                    <a:gd name="T10" fmla="*/ 0 h 6"/>
                    <a:gd name="T11" fmla="*/ 1 w 1"/>
                    <a:gd name="T12" fmla="*/ 6 h 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" h="6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36" name="Freeform 35"/>
                <p:cNvSpPr>
                  <a:spLocks/>
                </p:cNvSpPr>
                <p:nvPr/>
              </p:nvSpPr>
              <p:spPr bwMode="auto">
                <a:xfrm>
                  <a:off x="5354817" y="909235"/>
                  <a:ext cx="561975" cy="753861"/>
                </a:xfrm>
                <a:custGeom>
                  <a:avLst/>
                  <a:gdLst>
                    <a:gd name="T0" fmla="*/ 238 w 354"/>
                    <a:gd name="T1" fmla="*/ 168 h 475"/>
                    <a:gd name="T2" fmla="*/ 227 w 354"/>
                    <a:gd name="T3" fmla="*/ 191 h 475"/>
                    <a:gd name="T4" fmla="*/ 215 w 354"/>
                    <a:gd name="T5" fmla="*/ 220 h 475"/>
                    <a:gd name="T6" fmla="*/ 244 w 354"/>
                    <a:gd name="T7" fmla="*/ 232 h 475"/>
                    <a:gd name="T8" fmla="*/ 262 w 354"/>
                    <a:gd name="T9" fmla="*/ 203 h 475"/>
                    <a:gd name="T10" fmla="*/ 267 w 354"/>
                    <a:gd name="T11" fmla="*/ 191 h 475"/>
                    <a:gd name="T12" fmla="*/ 291 w 354"/>
                    <a:gd name="T13" fmla="*/ 174 h 475"/>
                    <a:gd name="T14" fmla="*/ 320 w 354"/>
                    <a:gd name="T15" fmla="*/ 191 h 475"/>
                    <a:gd name="T16" fmla="*/ 343 w 354"/>
                    <a:gd name="T17" fmla="*/ 261 h 475"/>
                    <a:gd name="T18" fmla="*/ 354 w 354"/>
                    <a:gd name="T19" fmla="*/ 330 h 475"/>
                    <a:gd name="T20" fmla="*/ 343 w 354"/>
                    <a:gd name="T21" fmla="*/ 325 h 475"/>
                    <a:gd name="T22" fmla="*/ 325 w 354"/>
                    <a:gd name="T23" fmla="*/ 348 h 475"/>
                    <a:gd name="T24" fmla="*/ 320 w 354"/>
                    <a:gd name="T25" fmla="*/ 371 h 475"/>
                    <a:gd name="T26" fmla="*/ 296 w 354"/>
                    <a:gd name="T27" fmla="*/ 423 h 475"/>
                    <a:gd name="T28" fmla="*/ 279 w 354"/>
                    <a:gd name="T29" fmla="*/ 446 h 475"/>
                    <a:gd name="T30" fmla="*/ 227 w 354"/>
                    <a:gd name="T31" fmla="*/ 452 h 475"/>
                    <a:gd name="T32" fmla="*/ 204 w 354"/>
                    <a:gd name="T33" fmla="*/ 458 h 475"/>
                    <a:gd name="T34" fmla="*/ 174 w 354"/>
                    <a:gd name="T35" fmla="*/ 452 h 475"/>
                    <a:gd name="T36" fmla="*/ 140 w 354"/>
                    <a:gd name="T37" fmla="*/ 458 h 475"/>
                    <a:gd name="T38" fmla="*/ 116 w 354"/>
                    <a:gd name="T39" fmla="*/ 464 h 475"/>
                    <a:gd name="T40" fmla="*/ 76 w 354"/>
                    <a:gd name="T41" fmla="*/ 464 h 475"/>
                    <a:gd name="T42" fmla="*/ 41 w 354"/>
                    <a:gd name="T43" fmla="*/ 470 h 475"/>
                    <a:gd name="T44" fmla="*/ 12 w 354"/>
                    <a:gd name="T45" fmla="*/ 475 h 475"/>
                    <a:gd name="T46" fmla="*/ 29 w 354"/>
                    <a:gd name="T47" fmla="*/ 435 h 475"/>
                    <a:gd name="T48" fmla="*/ 47 w 354"/>
                    <a:gd name="T49" fmla="*/ 354 h 475"/>
                    <a:gd name="T50" fmla="*/ 35 w 354"/>
                    <a:gd name="T51" fmla="*/ 313 h 475"/>
                    <a:gd name="T52" fmla="*/ 12 w 354"/>
                    <a:gd name="T53" fmla="*/ 249 h 475"/>
                    <a:gd name="T54" fmla="*/ 0 w 354"/>
                    <a:gd name="T55" fmla="*/ 214 h 475"/>
                    <a:gd name="T56" fmla="*/ 18 w 354"/>
                    <a:gd name="T57" fmla="*/ 168 h 475"/>
                    <a:gd name="T58" fmla="*/ 18 w 354"/>
                    <a:gd name="T59" fmla="*/ 139 h 475"/>
                    <a:gd name="T60" fmla="*/ 35 w 354"/>
                    <a:gd name="T61" fmla="*/ 110 h 475"/>
                    <a:gd name="T62" fmla="*/ 64 w 354"/>
                    <a:gd name="T63" fmla="*/ 98 h 475"/>
                    <a:gd name="T64" fmla="*/ 76 w 354"/>
                    <a:gd name="T65" fmla="*/ 110 h 475"/>
                    <a:gd name="T66" fmla="*/ 76 w 354"/>
                    <a:gd name="T67" fmla="*/ 110 h 475"/>
                    <a:gd name="T68" fmla="*/ 76 w 354"/>
                    <a:gd name="T69" fmla="*/ 64 h 475"/>
                    <a:gd name="T70" fmla="*/ 105 w 354"/>
                    <a:gd name="T71" fmla="*/ 46 h 475"/>
                    <a:gd name="T72" fmla="*/ 99 w 354"/>
                    <a:gd name="T73" fmla="*/ 17 h 475"/>
                    <a:gd name="T74" fmla="*/ 116 w 354"/>
                    <a:gd name="T75" fmla="*/ 5 h 475"/>
                    <a:gd name="T76" fmla="*/ 140 w 354"/>
                    <a:gd name="T77" fmla="*/ 11 h 475"/>
                    <a:gd name="T78" fmla="*/ 198 w 354"/>
                    <a:gd name="T79" fmla="*/ 23 h 475"/>
                    <a:gd name="T80" fmla="*/ 238 w 354"/>
                    <a:gd name="T81" fmla="*/ 52 h 475"/>
                    <a:gd name="T82" fmla="*/ 238 w 354"/>
                    <a:gd name="T83" fmla="*/ 75 h 475"/>
                    <a:gd name="T84" fmla="*/ 256 w 354"/>
                    <a:gd name="T85" fmla="*/ 98 h 47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354"/>
                    <a:gd name="T130" fmla="*/ 0 h 475"/>
                    <a:gd name="T131" fmla="*/ 354 w 354"/>
                    <a:gd name="T132" fmla="*/ 475 h 47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354" h="475">
                      <a:moveTo>
                        <a:pt x="256" y="127"/>
                      </a:moveTo>
                      <a:lnTo>
                        <a:pt x="244" y="156"/>
                      </a:lnTo>
                      <a:lnTo>
                        <a:pt x="238" y="168"/>
                      </a:lnTo>
                      <a:lnTo>
                        <a:pt x="244" y="174"/>
                      </a:lnTo>
                      <a:lnTo>
                        <a:pt x="238" y="180"/>
                      </a:lnTo>
                      <a:lnTo>
                        <a:pt x="227" y="191"/>
                      </a:lnTo>
                      <a:lnTo>
                        <a:pt x="221" y="197"/>
                      </a:lnTo>
                      <a:lnTo>
                        <a:pt x="215" y="203"/>
                      </a:lnTo>
                      <a:lnTo>
                        <a:pt x="215" y="220"/>
                      </a:lnTo>
                      <a:lnTo>
                        <a:pt x="227" y="232"/>
                      </a:lnTo>
                      <a:lnTo>
                        <a:pt x="238" y="232"/>
                      </a:lnTo>
                      <a:lnTo>
                        <a:pt x="244" y="232"/>
                      </a:lnTo>
                      <a:lnTo>
                        <a:pt x="256" y="220"/>
                      </a:lnTo>
                      <a:lnTo>
                        <a:pt x="256" y="214"/>
                      </a:lnTo>
                      <a:lnTo>
                        <a:pt x="262" y="203"/>
                      </a:lnTo>
                      <a:lnTo>
                        <a:pt x="267" y="197"/>
                      </a:lnTo>
                      <a:lnTo>
                        <a:pt x="262" y="197"/>
                      </a:lnTo>
                      <a:lnTo>
                        <a:pt x="267" y="191"/>
                      </a:lnTo>
                      <a:lnTo>
                        <a:pt x="267" y="185"/>
                      </a:lnTo>
                      <a:lnTo>
                        <a:pt x="279" y="180"/>
                      </a:lnTo>
                      <a:lnTo>
                        <a:pt x="291" y="174"/>
                      </a:lnTo>
                      <a:lnTo>
                        <a:pt x="296" y="174"/>
                      </a:lnTo>
                      <a:lnTo>
                        <a:pt x="308" y="180"/>
                      </a:lnTo>
                      <a:lnTo>
                        <a:pt x="320" y="191"/>
                      </a:lnTo>
                      <a:lnTo>
                        <a:pt x="325" y="209"/>
                      </a:lnTo>
                      <a:lnTo>
                        <a:pt x="337" y="243"/>
                      </a:lnTo>
                      <a:lnTo>
                        <a:pt x="343" y="261"/>
                      </a:lnTo>
                      <a:lnTo>
                        <a:pt x="343" y="267"/>
                      </a:lnTo>
                      <a:lnTo>
                        <a:pt x="354" y="290"/>
                      </a:lnTo>
                      <a:lnTo>
                        <a:pt x="354" y="330"/>
                      </a:lnTo>
                      <a:lnTo>
                        <a:pt x="343" y="342"/>
                      </a:lnTo>
                      <a:lnTo>
                        <a:pt x="337" y="330"/>
                      </a:lnTo>
                      <a:lnTo>
                        <a:pt x="343" y="325"/>
                      </a:lnTo>
                      <a:lnTo>
                        <a:pt x="337" y="325"/>
                      </a:lnTo>
                      <a:lnTo>
                        <a:pt x="325" y="330"/>
                      </a:lnTo>
                      <a:lnTo>
                        <a:pt x="325" y="348"/>
                      </a:lnTo>
                      <a:lnTo>
                        <a:pt x="325" y="354"/>
                      </a:lnTo>
                      <a:lnTo>
                        <a:pt x="325" y="365"/>
                      </a:lnTo>
                      <a:lnTo>
                        <a:pt x="320" y="371"/>
                      </a:lnTo>
                      <a:lnTo>
                        <a:pt x="308" y="383"/>
                      </a:lnTo>
                      <a:lnTo>
                        <a:pt x="308" y="406"/>
                      </a:lnTo>
                      <a:lnTo>
                        <a:pt x="296" y="423"/>
                      </a:lnTo>
                      <a:lnTo>
                        <a:pt x="291" y="441"/>
                      </a:lnTo>
                      <a:lnTo>
                        <a:pt x="279" y="441"/>
                      </a:lnTo>
                      <a:lnTo>
                        <a:pt x="279" y="446"/>
                      </a:lnTo>
                      <a:lnTo>
                        <a:pt x="262" y="446"/>
                      </a:lnTo>
                      <a:lnTo>
                        <a:pt x="256" y="446"/>
                      </a:lnTo>
                      <a:lnTo>
                        <a:pt x="227" y="452"/>
                      </a:lnTo>
                      <a:lnTo>
                        <a:pt x="215" y="458"/>
                      </a:lnTo>
                      <a:lnTo>
                        <a:pt x="209" y="458"/>
                      </a:lnTo>
                      <a:lnTo>
                        <a:pt x="204" y="458"/>
                      </a:lnTo>
                      <a:lnTo>
                        <a:pt x="180" y="458"/>
                      </a:lnTo>
                      <a:lnTo>
                        <a:pt x="174" y="464"/>
                      </a:lnTo>
                      <a:lnTo>
                        <a:pt x="174" y="452"/>
                      </a:lnTo>
                      <a:lnTo>
                        <a:pt x="157" y="458"/>
                      </a:lnTo>
                      <a:lnTo>
                        <a:pt x="145" y="458"/>
                      </a:lnTo>
                      <a:lnTo>
                        <a:pt x="140" y="458"/>
                      </a:lnTo>
                      <a:lnTo>
                        <a:pt x="134" y="458"/>
                      </a:lnTo>
                      <a:lnTo>
                        <a:pt x="128" y="458"/>
                      </a:lnTo>
                      <a:lnTo>
                        <a:pt x="116" y="464"/>
                      </a:lnTo>
                      <a:lnTo>
                        <a:pt x="105" y="464"/>
                      </a:lnTo>
                      <a:lnTo>
                        <a:pt x="93" y="464"/>
                      </a:lnTo>
                      <a:lnTo>
                        <a:pt x="76" y="464"/>
                      </a:lnTo>
                      <a:lnTo>
                        <a:pt x="70" y="470"/>
                      </a:lnTo>
                      <a:lnTo>
                        <a:pt x="53" y="470"/>
                      </a:lnTo>
                      <a:lnTo>
                        <a:pt x="41" y="470"/>
                      </a:lnTo>
                      <a:lnTo>
                        <a:pt x="29" y="470"/>
                      </a:lnTo>
                      <a:lnTo>
                        <a:pt x="24" y="470"/>
                      </a:lnTo>
                      <a:lnTo>
                        <a:pt x="12" y="475"/>
                      </a:lnTo>
                      <a:lnTo>
                        <a:pt x="6" y="475"/>
                      </a:lnTo>
                      <a:lnTo>
                        <a:pt x="18" y="464"/>
                      </a:lnTo>
                      <a:lnTo>
                        <a:pt x="29" y="435"/>
                      </a:lnTo>
                      <a:lnTo>
                        <a:pt x="35" y="417"/>
                      </a:lnTo>
                      <a:lnTo>
                        <a:pt x="41" y="394"/>
                      </a:lnTo>
                      <a:lnTo>
                        <a:pt x="47" y="354"/>
                      </a:lnTo>
                      <a:lnTo>
                        <a:pt x="41" y="354"/>
                      </a:lnTo>
                      <a:lnTo>
                        <a:pt x="41" y="330"/>
                      </a:lnTo>
                      <a:lnTo>
                        <a:pt x="35" y="313"/>
                      </a:lnTo>
                      <a:lnTo>
                        <a:pt x="12" y="278"/>
                      </a:lnTo>
                      <a:lnTo>
                        <a:pt x="6" y="249"/>
                      </a:lnTo>
                      <a:lnTo>
                        <a:pt x="12" y="249"/>
                      </a:lnTo>
                      <a:lnTo>
                        <a:pt x="12" y="238"/>
                      </a:lnTo>
                      <a:lnTo>
                        <a:pt x="6" y="220"/>
                      </a:lnTo>
                      <a:lnTo>
                        <a:pt x="0" y="214"/>
                      </a:lnTo>
                      <a:lnTo>
                        <a:pt x="12" y="197"/>
                      </a:lnTo>
                      <a:lnTo>
                        <a:pt x="18" y="174"/>
                      </a:lnTo>
                      <a:lnTo>
                        <a:pt x="18" y="168"/>
                      </a:lnTo>
                      <a:lnTo>
                        <a:pt x="18" y="156"/>
                      </a:lnTo>
                      <a:lnTo>
                        <a:pt x="18" y="151"/>
                      </a:lnTo>
                      <a:lnTo>
                        <a:pt x="18" y="139"/>
                      </a:lnTo>
                      <a:lnTo>
                        <a:pt x="29" y="127"/>
                      </a:lnTo>
                      <a:lnTo>
                        <a:pt x="29" y="110"/>
                      </a:lnTo>
                      <a:lnTo>
                        <a:pt x="35" y="110"/>
                      </a:lnTo>
                      <a:lnTo>
                        <a:pt x="53" y="98"/>
                      </a:lnTo>
                      <a:lnTo>
                        <a:pt x="64" y="81"/>
                      </a:lnTo>
                      <a:lnTo>
                        <a:pt x="64" y="98"/>
                      </a:lnTo>
                      <a:lnTo>
                        <a:pt x="64" y="122"/>
                      </a:lnTo>
                      <a:lnTo>
                        <a:pt x="70" y="98"/>
                      </a:lnTo>
                      <a:lnTo>
                        <a:pt x="76" y="110"/>
                      </a:lnTo>
                      <a:lnTo>
                        <a:pt x="70" y="122"/>
                      </a:lnTo>
                      <a:lnTo>
                        <a:pt x="76" y="122"/>
                      </a:lnTo>
                      <a:lnTo>
                        <a:pt x="76" y="110"/>
                      </a:lnTo>
                      <a:lnTo>
                        <a:pt x="82" y="93"/>
                      </a:lnTo>
                      <a:lnTo>
                        <a:pt x="76" y="69"/>
                      </a:lnTo>
                      <a:lnTo>
                        <a:pt x="76" y="64"/>
                      </a:lnTo>
                      <a:lnTo>
                        <a:pt x="87" y="52"/>
                      </a:lnTo>
                      <a:lnTo>
                        <a:pt x="99" y="52"/>
                      </a:lnTo>
                      <a:lnTo>
                        <a:pt x="105" y="46"/>
                      </a:lnTo>
                      <a:lnTo>
                        <a:pt x="105" y="40"/>
                      </a:lnTo>
                      <a:lnTo>
                        <a:pt x="99" y="35"/>
                      </a:lnTo>
                      <a:lnTo>
                        <a:pt x="99" y="17"/>
                      </a:lnTo>
                      <a:lnTo>
                        <a:pt x="105" y="17"/>
                      </a:lnTo>
                      <a:lnTo>
                        <a:pt x="99" y="5"/>
                      </a:lnTo>
                      <a:lnTo>
                        <a:pt x="116" y="5"/>
                      </a:lnTo>
                      <a:lnTo>
                        <a:pt x="122" y="0"/>
                      </a:lnTo>
                      <a:lnTo>
                        <a:pt x="128" y="0"/>
                      </a:lnTo>
                      <a:lnTo>
                        <a:pt x="140" y="11"/>
                      </a:lnTo>
                      <a:lnTo>
                        <a:pt x="169" y="11"/>
                      </a:lnTo>
                      <a:lnTo>
                        <a:pt x="174" y="23"/>
                      </a:lnTo>
                      <a:lnTo>
                        <a:pt x="198" y="23"/>
                      </a:lnTo>
                      <a:lnTo>
                        <a:pt x="215" y="35"/>
                      </a:lnTo>
                      <a:lnTo>
                        <a:pt x="227" y="35"/>
                      </a:lnTo>
                      <a:lnTo>
                        <a:pt x="238" y="52"/>
                      </a:lnTo>
                      <a:lnTo>
                        <a:pt x="250" y="64"/>
                      </a:lnTo>
                      <a:lnTo>
                        <a:pt x="238" y="64"/>
                      </a:lnTo>
                      <a:lnTo>
                        <a:pt x="238" y="75"/>
                      </a:lnTo>
                      <a:lnTo>
                        <a:pt x="244" y="81"/>
                      </a:lnTo>
                      <a:lnTo>
                        <a:pt x="250" y="87"/>
                      </a:lnTo>
                      <a:lnTo>
                        <a:pt x="256" y="98"/>
                      </a:lnTo>
                      <a:lnTo>
                        <a:pt x="256" y="127"/>
                      </a:lnTo>
                      <a:close/>
                    </a:path>
                  </a:pathLst>
                </a:custGeom>
                <a:solidFill>
                  <a:srgbClr val="5B9BD5">
                    <a:lumMod val="20000"/>
                    <a:lumOff val="8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37" name="Freeform 36"/>
                <p:cNvSpPr>
                  <a:spLocks/>
                </p:cNvSpPr>
                <p:nvPr/>
              </p:nvSpPr>
              <p:spPr bwMode="auto">
                <a:xfrm>
                  <a:off x="4560888" y="717358"/>
                  <a:ext cx="874713" cy="433272"/>
                </a:xfrm>
                <a:custGeom>
                  <a:avLst/>
                  <a:gdLst>
                    <a:gd name="T0" fmla="*/ 307 w 551"/>
                    <a:gd name="T1" fmla="*/ 192 h 273"/>
                    <a:gd name="T2" fmla="*/ 290 w 551"/>
                    <a:gd name="T3" fmla="*/ 192 h 273"/>
                    <a:gd name="T4" fmla="*/ 278 w 551"/>
                    <a:gd name="T5" fmla="*/ 186 h 273"/>
                    <a:gd name="T6" fmla="*/ 244 w 551"/>
                    <a:gd name="T7" fmla="*/ 256 h 273"/>
                    <a:gd name="T8" fmla="*/ 238 w 551"/>
                    <a:gd name="T9" fmla="*/ 273 h 273"/>
                    <a:gd name="T10" fmla="*/ 209 w 551"/>
                    <a:gd name="T11" fmla="*/ 204 h 273"/>
                    <a:gd name="T12" fmla="*/ 197 w 551"/>
                    <a:gd name="T13" fmla="*/ 198 h 273"/>
                    <a:gd name="T14" fmla="*/ 191 w 551"/>
                    <a:gd name="T15" fmla="*/ 192 h 273"/>
                    <a:gd name="T16" fmla="*/ 185 w 551"/>
                    <a:gd name="T17" fmla="*/ 180 h 273"/>
                    <a:gd name="T18" fmla="*/ 156 w 551"/>
                    <a:gd name="T19" fmla="*/ 174 h 273"/>
                    <a:gd name="T20" fmla="*/ 145 w 551"/>
                    <a:gd name="T21" fmla="*/ 174 h 273"/>
                    <a:gd name="T22" fmla="*/ 127 w 551"/>
                    <a:gd name="T23" fmla="*/ 174 h 273"/>
                    <a:gd name="T24" fmla="*/ 116 w 551"/>
                    <a:gd name="T25" fmla="*/ 169 h 273"/>
                    <a:gd name="T26" fmla="*/ 46 w 551"/>
                    <a:gd name="T27" fmla="*/ 151 h 273"/>
                    <a:gd name="T28" fmla="*/ 23 w 551"/>
                    <a:gd name="T29" fmla="*/ 145 h 273"/>
                    <a:gd name="T30" fmla="*/ 0 w 551"/>
                    <a:gd name="T31" fmla="*/ 122 h 273"/>
                    <a:gd name="T32" fmla="*/ 35 w 551"/>
                    <a:gd name="T33" fmla="*/ 105 h 273"/>
                    <a:gd name="T34" fmla="*/ 52 w 551"/>
                    <a:gd name="T35" fmla="*/ 87 h 273"/>
                    <a:gd name="T36" fmla="*/ 87 w 551"/>
                    <a:gd name="T37" fmla="*/ 76 h 273"/>
                    <a:gd name="T38" fmla="*/ 116 w 551"/>
                    <a:gd name="T39" fmla="*/ 53 h 273"/>
                    <a:gd name="T40" fmla="*/ 145 w 551"/>
                    <a:gd name="T41" fmla="*/ 29 h 273"/>
                    <a:gd name="T42" fmla="*/ 174 w 551"/>
                    <a:gd name="T43" fmla="*/ 6 h 273"/>
                    <a:gd name="T44" fmla="*/ 203 w 551"/>
                    <a:gd name="T45" fmla="*/ 6 h 273"/>
                    <a:gd name="T46" fmla="*/ 168 w 551"/>
                    <a:gd name="T47" fmla="*/ 35 h 273"/>
                    <a:gd name="T48" fmla="*/ 156 w 551"/>
                    <a:gd name="T49" fmla="*/ 53 h 273"/>
                    <a:gd name="T50" fmla="*/ 151 w 551"/>
                    <a:gd name="T51" fmla="*/ 70 h 273"/>
                    <a:gd name="T52" fmla="*/ 185 w 551"/>
                    <a:gd name="T53" fmla="*/ 70 h 273"/>
                    <a:gd name="T54" fmla="*/ 220 w 551"/>
                    <a:gd name="T55" fmla="*/ 82 h 273"/>
                    <a:gd name="T56" fmla="*/ 261 w 551"/>
                    <a:gd name="T57" fmla="*/ 111 h 273"/>
                    <a:gd name="T58" fmla="*/ 296 w 551"/>
                    <a:gd name="T59" fmla="*/ 105 h 273"/>
                    <a:gd name="T60" fmla="*/ 296 w 551"/>
                    <a:gd name="T61" fmla="*/ 105 h 273"/>
                    <a:gd name="T62" fmla="*/ 336 w 551"/>
                    <a:gd name="T63" fmla="*/ 82 h 273"/>
                    <a:gd name="T64" fmla="*/ 365 w 551"/>
                    <a:gd name="T65" fmla="*/ 76 h 273"/>
                    <a:gd name="T66" fmla="*/ 406 w 551"/>
                    <a:gd name="T67" fmla="*/ 64 h 273"/>
                    <a:gd name="T68" fmla="*/ 423 w 551"/>
                    <a:gd name="T69" fmla="*/ 87 h 273"/>
                    <a:gd name="T70" fmla="*/ 447 w 551"/>
                    <a:gd name="T71" fmla="*/ 93 h 273"/>
                    <a:gd name="T72" fmla="*/ 464 w 551"/>
                    <a:gd name="T73" fmla="*/ 93 h 273"/>
                    <a:gd name="T74" fmla="*/ 487 w 551"/>
                    <a:gd name="T75" fmla="*/ 82 h 273"/>
                    <a:gd name="T76" fmla="*/ 493 w 551"/>
                    <a:gd name="T77" fmla="*/ 76 h 273"/>
                    <a:gd name="T78" fmla="*/ 499 w 551"/>
                    <a:gd name="T79" fmla="*/ 93 h 273"/>
                    <a:gd name="T80" fmla="*/ 510 w 551"/>
                    <a:gd name="T81" fmla="*/ 116 h 273"/>
                    <a:gd name="T82" fmla="*/ 522 w 551"/>
                    <a:gd name="T83" fmla="*/ 128 h 273"/>
                    <a:gd name="T84" fmla="*/ 534 w 551"/>
                    <a:gd name="T85" fmla="*/ 122 h 273"/>
                    <a:gd name="T86" fmla="*/ 551 w 551"/>
                    <a:gd name="T87" fmla="*/ 128 h 273"/>
                    <a:gd name="T88" fmla="*/ 534 w 551"/>
                    <a:gd name="T89" fmla="*/ 140 h 273"/>
                    <a:gd name="T90" fmla="*/ 516 w 551"/>
                    <a:gd name="T91" fmla="*/ 140 h 273"/>
                    <a:gd name="T92" fmla="*/ 481 w 551"/>
                    <a:gd name="T93" fmla="*/ 145 h 273"/>
                    <a:gd name="T94" fmla="*/ 458 w 551"/>
                    <a:gd name="T95" fmla="*/ 140 h 273"/>
                    <a:gd name="T96" fmla="*/ 435 w 551"/>
                    <a:gd name="T97" fmla="*/ 145 h 273"/>
                    <a:gd name="T98" fmla="*/ 394 w 551"/>
                    <a:gd name="T99" fmla="*/ 140 h 273"/>
                    <a:gd name="T100" fmla="*/ 377 w 551"/>
                    <a:gd name="T101" fmla="*/ 157 h 273"/>
                    <a:gd name="T102" fmla="*/ 360 w 551"/>
                    <a:gd name="T103" fmla="*/ 163 h 273"/>
                    <a:gd name="T104" fmla="*/ 336 w 551"/>
                    <a:gd name="T105" fmla="*/ 163 h 273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51"/>
                    <a:gd name="T160" fmla="*/ 0 h 273"/>
                    <a:gd name="T161" fmla="*/ 551 w 551"/>
                    <a:gd name="T162" fmla="*/ 273 h 273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51" h="273">
                      <a:moveTo>
                        <a:pt x="319" y="186"/>
                      </a:moveTo>
                      <a:lnTo>
                        <a:pt x="307" y="192"/>
                      </a:lnTo>
                      <a:lnTo>
                        <a:pt x="296" y="174"/>
                      </a:lnTo>
                      <a:lnTo>
                        <a:pt x="290" y="192"/>
                      </a:lnTo>
                      <a:lnTo>
                        <a:pt x="278" y="192"/>
                      </a:lnTo>
                      <a:lnTo>
                        <a:pt x="278" y="186"/>
                      </a:lnTo>
                      <a:lnTo>
                        <a:pt x="261" y="215"/>
                      </a:lnTo>
                      <a:lnTo>
                        <a:pt x="244" y="256"/>
                      </a:lnTo>
                      <a:lnTo>
                        <a:pt x="238" y="267"/>
                      </a:lnTo>
                      <a:lnTo>
                        <a:pt x="238" y="273"/>
                      </a:lnTo>
                      <a:lnTo>
                        <a:pt x="232" y="267"/>
                      </a:lnTo>
                      <a:lnTo>
                        <a:pt x="209" y="204"/>
                      </a:lnTo>
                      <a:lnTo>
                        <a:pt x="209" y="198"/>
                      </a:lnTo>
                      <a:lnTo>
                        <a:pt x="197" y="198"/>
                      </a:lnTo>
                      <a:lnTo>
                        <a:pt x="191" y="198"/>
                      </a:lnTo>
                      <a:lnTo>
                        <a:pt x="191" y="192"/>
                      </a:lnTo>
                      <a:lnTo>
                        <a:pt x="191" y="186"/>
                      </a:lnTo>
                      <a:lnTo>
                        <a:pt x="185" y="180"/>
                      </a:lnTo>
                      <a:lnTo>
                        <a:pt x="180" y="180"/>
                      </a:lnTo>
                      <a:lnTo>
                        <a:pt x="156" y="174"/>
                      </a:lnTo>
                      <a:lnTo>
                        <a:pt x="145" y="180"/>
                      </a:lnTo>
                      <a:lnTo>
                        <a:pt x="145" y="174"/>
                      </a:lnTo>
                      <a:lnTo>
                        <a:pt x="139" y="174"/>
                      </a:lnTo>
                      <a:lnTo>
                        <a:pt x="127" y="174"/>
                      </a:lnTo>
                      <a:lnTo>
                        <a:pt x="122" y="169"/>
                      </a:lnTo>
                      <a:lnTo>
                        <a:pt x="116" y="169"/>
                      </a:lnTo>
                      <a:lnTo>
                        <a:pt x="110" y="163"/>
                      </a:lnTo>
                      <a:lnTo>
                        <a:pt x="46" y="151"/>
                      </a:lnTo>
                      <a:lnTo>
                        <a:pt x="40" y="151"/>
                      </a:lnTo>
                      <a:lnTo>
                        <a:pt x="23" y="145"/>
                      </a:lnTo>
                      <a:lnTo>
                        <a:pt x="17" y="128"/>
                      </a:lnTo>
                      <a:lnTo>
                        <a:pt x="0" y="122"/>
                      </a:lnTo>
                      <a:lnTo>
                        <a:pt x="11" y="116"/>
                      </a:lnTo>
                      <a:lnTo>
                        <a:pt x="35" y="105"/>
                      </a:lnTo>
                      <a:lnTo>
                        <a:pt x="40" y="99"/>
                      </a:lnTo>
                      <a:lnTo>
                        <a:pt x="52" y="87"/>
                      </a:lnTo>
                      <a:lnTo>
                        <a:pt x="58" y="87"/>
                      </a:lnTo>
                      <a:lnTo>
                        <a:pt x="87" y="76"/>
                      </a:lnTo>
                      <a:lnTo>
                        <a:pt x="110" y="58"/>
                      </a:lnTo>
                      <a:lnTo>
                        <a:pt x="116" y="53"/>
                      </a:lnTo>
                      <a:lnTo>
                        <a:pt x="133" y="35"/>
                      </a:lnTo>
                      <a:lnTo>
                        <a:pt x="145" y="29"/>
                      </a:lnTo>
                      <a:lnTo>
                        <a:pt x="151" y="18"/>
                      </a:lnTo>
                      <a:lnTo>
                        <a:pt x="174" y="6"/>
                      </a:lnTo>
                      <a:lnTo>
                        <a:pt x="180" y="0"/>
                      </a:lnTo>
                      <a:lnTo>
                        <a:pt x="203" y="6"/>
                      </a:lnTo>
                      <a:lnTo>
                        <a:pt x="185" y="24"/>
                      </a:lnTo>
                      <a:lnTo>
                        <a:pt x="168" y="35"/>
                      </a:lnTo>
                      <a:lnTo>
                        <a:pt x="162" y="41"/>
                      </a:lnTo>
                      <a:lnTo>
                        <a:pt x="156" y="53"/>
                      </a:lnTo>
                      <a:lnTo>
                        <a:pt x="156" y="58"/>
                      </a:lnTo>
                      <a:lnTo>
                        <a:pt x="151" y="70"/>
                      </a:lnTo>
                      <a:lnTo>
                        <a:pt x="168" y="70"/>
                      </a:lnTo>
                      <a:lnTo>
                        <a:pt x="185" y="70"/>
                      </a:lnTo>
                      <a:lnTo>
                        <a:pt x="209" y="70"/>
                      </a:lnTo>
                      <a:lnTo>
                        <a:pt x="220" y="82"/>
                      </a:lnTo>
                      <a:lnTo>
                        <a:pt x="244" y="111"/>
                      </a:lnTo>
                      <a:lnTo>
                        <a:pt x="261" y="111"/>
                      </a:lnTo>
                      <a:lnTo>
                        <a:pt x="290" y="105"/>
                      </a:lnTo>
                      <a:lnTo>
                        <a:pt x="296" y="105"/>
                      </a:lnTo>
                      <a:lnTo>
                        <a:pt x="290" y="99"/>
                      </a:lnTo>
                      <a:lnTo>
                        <a:pt x="296" y="105"/>
                      </a:lnTo>
                      <a:lnTo>
                        <a:pt x="307" y="105"/>
                      </a:lnTo>
                      <a:lnTo>
                        <a:pt x="336" y="82"/>
                      </a:lnTo>
                      <a:lnTo>
                        <a:pt x="354" y="76"/>
                      </a:lnTo>
                      <a:lnTo>
                        <a:pt x="365" y="76"/>
                      </a:lnTo>
                      <a:lnTo>
                        <a:pt x="383" y="76"/>
                      </a:lnTo>
                      <a:lnTo>
                        <a:pt x="406" y="64"/>
                      </a:lnTo>
                      <a:lnTo>
                        <a:pt x="423" y="58"/>
                      </a:lnTo>
                      <a:lnTo>
                        <a:pt x="423" y="87"/>
                      </a:lnTo>
                      <a:lnTo>
                        <a:pt x="429" y="93"/>
                      </a:lnTo>
                      <a:lnTo>
                        <a:pt x="447" y="93"/>
                      </a:lnTo>
                      <a:lnTo>
                        <a:pt x="458" y="87"/>
                      </a:lnTo>
                      <a:lnTo>
                        <a:pt x="464" y="93"/>
                      </a:lnTo>
                      <a:lnTo>
                        <a:pt x="470" y="82"/>
                      </a:lnTo>
                      <a:lnTo>
                        <a:pt x="487" y="82"/>
                      </a:lnTo>
                      <a:lnTo>
                        <a:pt x="487" y="76"/>
                      </a:lnTo>
                      <a:lnTo>
                        <a:pt x="493" y="76"/>
                      </a:lnTo>
                      <a:lnTo>
                        <a:pt x="499" y="82"/>
                      </a:lnTo>
                      <a:lnTo>
                        <a:pt x="499" y="93"/>
                      </a:lnTo>
                      <a:lnTo>
                        <a:pt x="505" y="116"/>
                      </a:lnTo>
                      <a:lnTo>
                        <a:pt x="510" y="116"/>
                      </a:lnTo>
                      <a:lnTo>
                        <a:pt x="516" y="128"/>
                      </a:lnTo>
                      <a:lnTo>
                        <a:pt x="522" y="128"/>
                      </a:lnTo>
                      <a:lnTo>
                        <a:pt x="522" y="122"/>
                      </a:lnTo>
                      <a:lnTo>
                        <a:pt x="534" y="122"/>
                      </a:lnTo>
                      <a:lnTo>
                        <a:pt x="540" y="122"/>
                      </a:lnTo>
                      <a:lnTo>
                        <a:pt x="551" y="128"/>
                      </a:lnTo>
                      <a:lnTo>
                        <a:pt x="545" y="140"/>
                      </a:lnTo>
                      <a:lnTo>
                        <a:pt x="534" y="140"/>
                      </a:lnTo>
                      <a:lnTo>
                        <a:pt x="522" y="140"/>
                      </a:lnTo>
                      <a:lnTo>
                        <a:pt x="516" y="140"/>
                      </a:lnTo>
                      <a:lnTo>
                        <a:pt x="505" y="140"/>
                      </a:lnTo>
                      <a:lnTo>
                        <a:pt x="481" y="145"/>
                      </a:lnTo>
                      <a:lnTo>
                        <a:pt x="464" y="140"/>
                      </a:lnTo>
                      <a:lnTo>
                        <a:pt x="458" y="140"/>
                      </a:lnTo>
                      <a:lnTo>
                        <a:pt x="458" y="163"/>
                      </a:lnTo>
                      <a:lnTo>
                        <a:pt x="435" y="145"/>
                      </a:lnTo>
                      <a:lnTo>
                        <a:pt x="423" y="140"/>
                      </a:lnTo>
                      <a:lnTo>
                        <a:pt x="394" y="140"/>
                      </a:lnTo>
                      <a:lnTo>
                        <a:pt x="383" y="151"/>
                      </a:lnTo>
                      <a:lnTo>
                        <a:pt x="377" y="157"/>
                      </a:lnTo>
                      <a:lnTo>
                        <a:pt x="365" y="157"/>
                      </a:lnTo>
                      <a:lnTo>
                        <a:pt x="360" y="163"/>
                      </a:lnTo>
                      <a:lnTo>
                        <a:pt x="348" y="163"/>
                      </a:lnTo>
                      <a:lnTo>
                        <a:pt x="336" y="163"/>
                      </a:lnTo>
                      <a:lnTo>
                        <a:pt x="319" y="186"/>
                      </a:lnTo>
                      <a:close/>
                    </a:path>
                  </a:pathLst>
                </a:custGeom>
                <a:solidFill>
                  <a:srgbClr val="70AD47">
                    <a:lumMod val="20000"/>
                    <a:lumOff val="8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38" name="Freeform 37"/>
                <p:cNvSpPr>
                  <a:spLocks/>
                </p:cNvSpPr>
                <p:nvPr/>
              </p:nvSpPr>
              <p:spPr bwMode="auto">
                <a:xfrm>
                  <a:off x="5297488" y="966529"/>
                  <a:ext cx="36513" cy="19045"/>
                </a:xfrm>
                <a:custGeom>
                  <a:avLst/>
                  <a:gdLst>
                    <a:gd name="T0" fmla="*/ 0 w 23"/>
                    <a:gd name="T1" fmla="*/ 0 h 12"/>
                    <a:gd name="T2" fmla="*/ 23 w 23"/>
                    <a:gd name="T3" fmla="*/ 12 h 12"/>
                    <a:gd name="T4" fmla="*/ 17 w 23"/>
                    <a:gd name="T5" fmla="*/ 12 h 12"/>
                    <a:gd name="T6" fmla="*/ 0 w 23"/>
                    <a:gd name="T7" fmla="*/ 0 h 1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3"/>
                    <a:gd name="T13" fmla="*/ 0 h 12"/>
                    <a:gd name="T14" fmla="*/ 23 w 23"/>
                    <a:gd name="T15" fmla="*/ 12 h 1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3" h="12">
                      <a:moveTo>
                        <a:pt x="0" y="0"/>
                      </a:moveTo>
                      <a:lnTo>
                        <a:pt x="23" y="12"/>
                      </a:lnTo>
                      <a:lnTo>
                        <a:pt x="17" y="1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40" name="Freeform 39"/>
                <p:cNvSpPr>
                  <a:spLocks/>
                </p:cNvSpPr>
                <p:nvPr/>
              </p:nvSpPr>
              <p:spPr bwMode="auto">
                <a:xfrm>
                  <a:off x="4716463" y="634830"/>
                  <a:ext cx="38100" cy="9522"/>
                </a:xfrm>
                <a:custGeom>
                  <a:avLst/>
                  <a:gdLst>
                    <a:gd name="T0" fmla="*/ 0 w 24"/>
                    <a:gd name="T1" fmla="*/ 0 h 6"/>
                    <a:gd name="T2" fmla="*/ 24 w 24"/>
                    <a:gd name="T3" fmla="*/ 0 h 6"/>
                    <a:gd name="T4" fmla="*/ 18 w 24"/>
                    <a:gd name="T5" fmla="*/ 0 h 6"/>
                    <a:gd name="T6" fmla="*/ 12 w 24"/>
                    <a:gd name="T7" fmla="*/ 6 h 6"/>
                    <a:gd name="T8" fmla="*/ 0 w 24"/>
                    <a:gd name="T9" fmla="*/ 0 h 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4"/>
                    <a:gd name="T16" fmla="*/ 0 h 6"/>
                    <a:gd name="T17" fmla="*/ 24 w 24"/>
                    <a:gd name="T18" fmla="*/ 6 h 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4" h="6">
                      <a:moveTo>
                        <a:pt x="0" y="0"/>
                      </a:moveTo>
                      <a:lnTo>
                        <a:pt x="24" y="0"/>
                      </a:lnTo>
                      <a:lnTo>
                        <a:pt x="18" y="0"/>
                      </a:lnTo>
                      <a:lnTo>
                        <a:pt x="12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41" name="Freeform 40"/>
                <p:cNvSpPr>
                  <a:spLocks/>
                </p:cNvSpPr>
                <p:nvPr/>
              </p:nvSpPr>
              <p:spPr bwMode="auto">
                <a:xfrm>
                  <a:off x="5079057" y="2788659"/>
                  <a:ext cx="1080901" cy="412070"/>
                </a:xfrm>
                <a:custGeom>
                  <a:avLst/>
                  <a:gdLst>
                    <a:gd name="T0" fmla="*/ 81 w 783"/>
                    <a:gd name="T1" fmla="*/ 98 h 278"/>
                    <a:gd name="T2" fmla="*/ 63 w 783"/>
                    <a:gd name="T3" fmla="*/ 116 h 278"/>
                    <a:gd name="T4" fmla="*/ 58 w 783"/>
                    <a:gd name="T5" fmla="*/ 139 h 278"/>
                    <a:gd name="T6" fmla="*/ 58 w 783"/>
                    <a:gd name="T7" fmla="*/ 168 h 278"/>
                    <a:gd name="T8" fmla="*/ 34 w 783"/>
                    <a:gd name="T9" fmla="*/ 214 h 278"/>
                    <a:gd name="T10" fmla="*/ 17 w 783"/>
                    <a:gd name="T11" fmla="*/ 226 h 278"/>
                    <a:gd name="T12" fmla="*/ 17 w 783"/>
                    <a:gd name="T13" fmla="*/ 226 h 278"/>
                    <a:gd name="T14" fmla="*/ 17 w 783"/>
                    <a:gd name="T15" fmla="*/ 261 h 278"/>
                    <a:gd name="T16" fmla="*/ 46 w 783"/>
                    <a:gd name="T17" fmla="*/ 272 h 278"/>
                    <a:gd name="T18" fmla="*/ 75 w 783"/>
                    <a:gd name="T19" fmla="*/ 272 h 278"/>
                    <a:gd name="T20" fmla="*/ 98 w 783"/>
                    <a:gd name="T21" fmla="*/ 272 h 278"/>
                    <a:gd name="T22" fmla="*/ 116 w 783"/>
                    <a:gd name="T23" fmla="*/ 266 h 278"/>
                    <a:gd name="T24" fmla="*/ 133 w 783"/>
                    <a:gd name="T25" fmla="*/ 266 h 278"/>
                    <a:gd name="T26" fmla="*/ 151 w 783"/>
                    <a:gd name="T27" fmla="*/ 266 h 278"/>
                    <a:gd name="T28" fmla="*/ 197 w 783"/>
                    <a:gd name="T29" fmla="*/ 261 h 278"/>
                    <a:gd name="T30" fmla="*/ 249 w 783"/>
                    <a:gd name="T31" fmla="*/ 255 h 278"/>
                    <a:gd name="T32" fmla="*/ 290 w 783"/>
                    <a:gd name="T33" fmla="*/ 249 h 278"/>
                    <a:gd name="T34" fmla="*/ 330 w 783"/>
                    <a:gd name="T35" fmla="*/ 249 h 278"/>
                    <a:gd name="T36" fmla="*/ 377 w 783"/>
                    <a:gd name="T37" fmla="*/ 243 h 278"/>
                    <a:gd name="T38" fmla="*/ 417 w 783"/>
                    <a:gd name="T39" fmla="*/ 237 h 278"/>
                    <a:gd name="T40" fmla="*/ 452 w 783"/>
                    <a:gd name="T41" fmla="*/ 237 h 278"/>
                    <a:gd name="T42" fmla="*/ 476 w 783"/>
                    <a:gd name="T43" fmla="*/ 232 h 278"/>
                    <a:gd name="T44" fmla="*/ 516 w 783"/>
                    <a:gd name="T45" fmla="*/ 226 h 278"/>
                    <a:gd name="T46" fmla="*/ 534 w 783"/>
                    <a:gd name="T47" fmla="*/ 226 h 278"/>
                    <a:gd name="T48" fmla="*/ 563 w 783"/>
                    <a:gd name="T49" fmla="*/ 220 h 278"/>
                    <a:gd name="T50" fmla="*/ 563 w 783"/>
                    <a:gd name="T51" fmla="*/ 191 h 278"/>
                    <a:gd name="T52" fmla="*/ 586 w 783"/>
                    <a:gd name="T53" fmla="*/ 174 h 278"/>
                    <a:gd name="T54" fmla="*/ 592 w 783"/>
                    <a:gd name="T55" fmla="*/ 162 h 278"/>
                    <a:gd name="T56" fmla="*/ 615 w 783"/>
                    <a:gd name="T57" fmla="*/ 145 h 278"/>
                    <a:gd name="T58" fmla="*/ 661 w 783"/>
                    <a:gd name="T59" fmla="*/ 116 h 278"/>
                    <a:gd name="T60" fmla="*/ 679 w 783"/>
                    <a:gd name="T61" fmla="*/ 104 h 278"/>
                    <a:gd name="T62" fmla="*/ 690 w 783"/>
                    <a:gd name="T63" fmla="*/ 87 h 278"/>
                    <a:gd name="T64" fmla="*/ 702 w 783"/>
                    <a:gd name="T65" fmla="*/ 87 h 278"/>
                    <a:gd name="T66" fmla="*/ 719 w 783"/>
                    <a:gd name="T67" fmla="*/ 75 h 278"/>
                    <a:gd name="T68" fmla="*/ 737 w 783"/>
                    <a:gd name="T69" fmla="*/ 58 h 278"/>
                    <a:gd name="T70" fmla="*/ 754 w 783"/>
                    <a:gd name="T71" fmla="*/ 63 h 278"/>
                    <a:gd name="T72" fmla="*/ 766 w 783"/>
                    <a:gd name="T73" fmla="*/ 34 h 278"/>
                    <a:gd name="T74" fmla="*/ 777 w 783"/>
                    <a:gd name="T75" fmla="*/ 11 h 278"/>
                    <a:gd name="T76" fmla="*/ 772 w 783"/>
                    <a:gd name="T77" fmla="*/ 0 h 278"/>
                    <a:gd name="T78" fmla="*/ 737 w 783"/>
                    <a:gd name="T79" fmla="*/ 11 h 278"/>
                    <a:gd name="T80" fmla="*/ 713 w 783"/>
                    <a:gd name="T81" fmla="*/ 11 h 278"/>
                    <a:gd name="T82" fmla="*/ 690 w 783"/>
                    <a:gd name="T83" fmla="*/ 17 h 278"/>
                    <a:gd name="T84" fmla="*/ 661 w 783"/>
                    <a:gd name="T85" fmla="*/ 23 h 278"/>
                    <a:gd name="T86" fmla="*/ 615 w 783"/>
                    <a:gd name="T87" fmla="*/ 29 h 278"/>
                    <a:gd name="T88" fmla="*/ 597 w 783"/>
                    <a:gd name="T89" fmla="*/ 34 h 278"/>
                    <a:gd name="T90" fmla="*/ 568 w 783"/>
                    <a:gd name="T91" fmla="*/ 34 h 278"/>
                    <a:gd name="T92" fmla="*/ 528 w 783"/>
                    <a:gd name="T93" fmla="*/ 40 h 278"/>
                    <a:gd name="T94" fmla="*/ 493 w 783"/>
                    <a:gd name="T95" fmla="*/ 46 h 278"/>
                    <a:gd name="T96" fmla="*/ 476 w 783"/>
                    <a:gd name="T97" fmla="*/ 46 h 278"/>
                    <a:gd name="T98" fmla="*/ 447 w 783"/>
                    <a:gd name="T99" fmla="*/ 46 h 278"/>
                    <a:gd name="T100" fmla="*/ 417 w 783"/>
                    <a:gd name="T101" fmla="*/ 52 h 278"/>
                    <a:gd name="T102" fmla="*/ 394 w 783"/>
                    <a:gd name="T103" fmla="*/ 52 h 278"/>
                    <a:gd name="T104" fmla="*/ 371 w 783"/>
                    <a:gd name="T105" fmla="*/ 58 h 278"/>
                    <a:gd name="T106" fmla="*/ 354 w 783"/>
                    <a:gd name="T107" fmla="*/ 58 h 278"/>
                    <a:gd name="T108" fmla="*/ 330 w 783"/>
                    <a:gd name="T109" fmla="*/ 58 h 278"/>
                    <a:gd name="T110" fmla="*/ 307 w 783"/>
                    <a:gd name="T111" fmla="*/ 63 h 278"/>
                    <a:gd name="T112" fmla="*/ 284 w 783"/>
                    <a:gd name="T113" fmla="*/ 63 h 278"/>
                    <a:gd name="T114" fmla="*/ 249 w 783"/>
                    <a:gd name="T115" fmla="*/ 69 h 278"/>
                    <a:gd name="T116" fmla="*/ 214 w 783"/>
                    <a:gd name="T117" fmla="*/ 69 h 278"/>
                    <a:gd name="T118" fmla="*/ 197 w 783"/>
                    <a:gd name="T119" fmla="*/ 87 h 278"/>
                    <a:gd name="T120" fmla="*/ 156 w 783"/>
                    <a:gd name="T121" fmla="*/ 92 h 278"/>
                    <a:gd name="T122" fmla="*/ 127 w 783"/>
                    <a:gd name="T123" fmla="*/ 92 h 278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783"/>
                    <a:gd name="T187" fmla="*/ 0 h 278"/>
                    <a:gd name="T188" fmla="*/ 783 w 783"/>
                    <a:gd name="T189" fmla="*/ 278 h 278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783" h="278">
                      <a:moveTo>
                        <a:pt x="127" y="92"/>
                      </a:moveTo>
                      <a:lnTo>
                        <a:pt x="116" y="98"/>
                      </a:lnTo>
                      <a:lnTo>
                        <a:pt x="81" y="98"/>
                      </a:lnTo>
                      <a:lnTo>
                        <a:pt x="75" y="98"/>
                      </a:lnTo>
                      <a:lnTo>
                        <a:pt x="63" y="98"/>
                      </a:lnTo>
                      <a:lnTo>
                        <a:pt x="63" y="116"/>
                      </a:lnTo>
                      <a:lnTo>
                        <a:pt x="63" y="127"/>
                      </a:lnTo>
                      <a:lnTo>
                        <a:pt x="46" y="127"/>
                      </a:lnTo>
                      <a:lnTo>
                        <a:pt x="58" y="139"/>
                      </a:lnTo>
                      <a:lnTo>
                        <a:pt x="58" y="145"/>
                      </a:lnTo>
                      <a:lnTo>
                        <a:pt x="46" y="156"/>
                      </a:lnTo>
                      <a:lnTo>
                        <a:pt x="58" y="168"/>
                      </a:lnTo>
                      <a:lnTo>
                        <a:pt x="46" y="168"/>
                      </a:lnTo>
                      <a:lnTo>
                        <a:pt x="34" y="185"/>
                      </a:lnTo>
                      <a:lnTo>
                        <a:pt x="34" y="214"/>
                      </a:lnTo>
                      <a:lnTo>
                        <a:pt x="29" y="208"/>
                      </a:lnTo>
                      <a:lnTo>
                        <a:pt x="23" y="214"/>
                      </a:lnTo>
                      <a:lnTo>
                        <a:pt x="17" y="226"/>
                      </a:lnTo>
                      <a:lnTo>
                        <a:pt x="11" y="232"/>
                      </a:lnTo>
                      <a:lnTo>
                        <a:pt x="17" y="232"/>
                      </a:lnTo>
                      <a:lnTo>
                        <a:pt x="17" y="226"/>
                      </a:lnTo>
                      <a:lnTo>
                        <a:pt x="17" y="232"/>
                      </a:lnTo>
                      <a:lnTo>
                        <a:pt x="23" y="261"/>
                      </a:lnTo>
                      <a:lnTo>
                        <a:pt x="17" y="261"/>
                      </a:lnTo>
                      <a:lnTo>
                        <a:pt x="0" y="278"/>
                      </a:lnTo>
                      <a:lnTo>
                        <a:pt x="29" y="272"/>
                      </a:lnTo>
                      <a:lnTo>
                        <a:pt x="46" y="272"/>
                      </a:lnTo>
                      <a:lnTo>
                        <a:pt x="58" y="272"/>
                      </a:lnTo>
                      <a:lnTo>
                        <a:pt x="63" y="272"/>
                      </a:lnTo>
                      <a:lnTo>
                        <a:pt x="75" y="272"/>
                      </a:lnTo>
                      <a:lnTo>
                        <a:pt x="81" y="272"/>
                      </a:lnTo>
                      <a:lnTo>
                        <a:pt x="92" y="272"/>
                      </a:lnTo>
                      <a:lnTo>
                        <a:pt x="98" y="272"/>
                      </a:lnTo>
                      <a:lnTo>
                        <a:pt x="98" y="266"/>
                      </a:lnTo>
                      <a:lnTo>
                        <a:pt x="104" y="266"/>
                      </a:lnTo>
                      <a:lnTo>
                        <a:pt x="116" y="266"/>
                      </a:lnTo>
                      <a:lnTo>
                        <a:pt x="121" y="266"/>
                      </a:lnTo>
                      <a:lnTo>
                        <a:pt x="127" y="266"/>
                      </a:lnTo>
                      <a:lnTo>
                        <a:pt x="133" y="266"/>
                      </a:lnTo>
                      <a:lnTo>
                        <a:pt x="139" y="266"/>
                      </a:lnTo>
                      <a:lnTo>
                        <a:pt x="145" y="266"/>
                      </a:lnTo>
                      <a:lnTo>
                        <a:pt x="151" y="266"/>
                      </a:lnTo>
                      <a:lnTo>
                        <a:pt x="162" y="266"/>
                      </a:lnTo>
                      <a:lnTo>
                        <a:pt x="185" y="261"/>
                      </a:lnTo>
                      <a:lnTo>
                        <a:pt x="197" y="261"/>
                      </a:lnTo>
                      <a:lnTo>
                        <a:pt x="220" y="255"/>
                      </a:lnTo>
                      <a:lnTo>
                        <a:pt x="226" y="255"/>
                      </a:lnTo>
                      <a:lnTo>
                        <a:pt x="249" y="255"/>
                      </a:lnTo>
                      <a:lnTo>
                        <a:pt x="255" y="255"/>
                      </a:lnTo>
                      <a:lnTo>
                        <a:pt x="278" y="255"/>
                      </a:lnTo>
                      <a:lnTo>
                        <a:pt x="290" y="249"/>
                      </a:lnTo>
                      <a:lnTo>
                        <a:pt x="319" y="249"/>
                      </a:lnTo>
                      <a:lnTo>
                        <a:pt x="325" y="249"/>
                      </a:lnTo>
                      <a:lnTo>
                        <a:pt x="330" y="249"/>
                      </a:lnTo>
                      <a:lnTo>
                        <a:pt x="359" y="243"/>
                      </a:lnTo>
                      <a:lnTo>
                        <a:pt x="371" y="243"/>
                      </a:lnTo>
                      <a:lnTo>
                        <a:pt x="377" y="243"/>
                      </a:lnTo>
                      <a:lnTo>
                        <a:pt x="383" y="243"/>
                      </a:lnTo>
                      <a:lnTo>
                        <a:pt x="400" y="243"/>
                      </a:lnTo>
                      <a:lnTo>
                        <a:pt x="417" y="237"/>
                      </a:lnTo>
                      <a:lnTo>
                        <a:pt x="423" y="237"/>
                      </a:lnTo>
                      <a:lnTo>
                        <a:pt x="441" y="237"/>
                      </a:lnTo>
                      <a:lnTo>
                        <a:pt x="452" y="237"/>
                      </a:lnTo>
                      <a:lnTo>
                        <a:pt x="464" y="232"/>
                      </a:lnTo>
                      <a:lnTo>
                        <a:pt x="470" y="232"/>
                      </a:lnTo>
                      <a:lnTo>
                        <a:pt x="476" y="232"/>
                      </a:lnTo>
                      <a:lnTo>
                        <a:pt x="499" y="232"/>
                      </a:lnTo>
                      <a:lnTo>
                        <a:pt x="505" y="226"/>
                      </a:lnTo>
                      <a:lnTo>
                        <a:pt x="516" y="226"/>
                      </a:lnTo>
                      <a:lnTo>
                        <a:pt x="522" y="226"/>
                      </a:lnTo>
                      <a:lnTo>
                        <a:pt x="528" y="226"/>
                      </a:lnTo>
                      <a:lnTo>
                        <a:pt x="534" y="226"/>
                      </a:lnTo>
                      <a:lnTo>
                        <a:pt x="545" y="220"/>
                      </a:lnTo>
                      <a:lnTo>
                        <a:pt x="557" y="220"/>
                      </a:lnTo>
                      <a:lnTo>
                        <a:pt x="563" y="220"/>
                      </a:lnTo>
                      <a:lnTo>
                        <a:pt x="563" y="203"/>
                      </a:lnTo>
                      <a:lnTo>
                        <a:pt x="563" y="197"/>
                      </a:lnTo>
                      <a:lnTo>
                        <a:pt x="563" y="191"/>
                      </a:lnTo>
                      <a:lnTo>
                        <a:pt x="580" y="191"/>
                      </a:lnTo>
                      <a:lnTo>
                        <a:pt x="586" y="185"/>
                      </a:lnTo>
                      <a:lnTo>
                        <a:pt x="586" y="174"/>
                      </a:lnTo>
                      <a:lnTo>
                        <a:pt x="586" y="168"/>
                      </a:lnTo>
                      <a:lnTo>
                        <a:pt x="586" y="162"/>
                      </a:lnTo>
                      <a:lnTo>
                        <a:pt x="592" y="162"/>
                      </a:lnTo>
                      <a:lnTo>
                        <a:pt x="597" y="156"/>
                      </a:lnTo>
                      <a:lnTo>
                        <a:pt x="609" y="150"/>
                      </a:lnTo>
                      <a:lnTo>
                        <a:pt x="615" y="145"/>
                      </a:lnTo>
                      <a:lnTo>
                        <a:pt x="632" y="145"/>
                      </a:lnTo>
                      <a:lnTo>
                        <a:pt x="650" y="127"/>
                      </a:lnTo>
                      <a:lnTo>
                        <a:pt x="661" y="116"/>
                      </a:lnTo>
                      <a:lnTo>
                        <a:pt x="673" y="116"/>
                      </a:lnTo>
                      <a:lnTo>
                        <a:pt x="673" y="110"/>
                      </a:lnTo>
                      <a:lnTo>
                        <a:pt x="679" y="104"/>
                      </a:lnTo>
                      <a:lnTo>
                        <a:pt x="679" y="98"/>
                      </a:lnTo>
                      <a:lnTo>
                        <a:pt x="679" y="92"/>
                      </a:lnTo>
                      <a:lnTo>
                        <a:pt x="690" y="87"/>
                      </a:lnTo>
                      <a:lnTo>
                        <a:pt x="702" y="75"/>
                      </a:lnTo>
                      <a:lnTo>
                        <a:pt x="702" y="81"/>
                      </a:lnTo>
                      <a:lnTo>
                        <a:pt x="702" y="87"/>
                      </a:lnTo>
                      <a:lnTo>
                        <a:pt x="713" y="87"/>
                      </a:lnTo>
                      <a:lnTo>
                        <a:pt x="719" y="81"/>
                      </a:lnTo>
                      <a:lnTo>
                        <a:pt x="719" y="75"/>
                      </a:lnTo>
                      <a:lnTo>
                        <a:pt x="725" y="69"/>
                      </a:lnTo>
                      <a:lnTo>
                        <a:pt x="737" y="63"/>
                      </a:lnTo>
                      <a:lnTo>
                        <a:pt x="737" y="58"/>
                      </a:lnTo>
                      <a:lnTo>
                        <a:pt x="743" y="63"/>
                      </a:lnTo>
                      <a:lnTo>
                        <a:pt x="748" y="63"/>
                      </a:lnTo>
                      <a:lnTo>
                        <a:pt x="754" y="63"/>
                      </a:lnTo>
                      <a:lnTo>
                        <a:pt x="760" y="46"/>
                      </a:lnTo>
                      <a:lnTo>
                        <a:pt x="760" y="40"/>
                      </a:lnTo>
                      <a:lnTo>
                        <a:pt x="766" y="34"/>
                      </a:lnTo>
                      <a:lnTo>
                        <a:pt x="777" y="34"/>
                      </a:lnTo>
                      <a:lnTo>
                        <a:pt x="777" y="29"/>
                      </a:lnTo>
                      <a:lnTo>
                        <a:pt x="777" y="11"/>
                      </a:lnTo>
                      <a:lnTo>
                        <a:pt x="777" y="5"/>
                      </a:lnTo>
                      <a:lnTo>
                        <a:pt x="783" y="0"/>
                      </a:lnTo>
                      <a:lnTo>
                        <a:pt x="772" y="0"/>
                      </a:lnTo>
                      <a:lnTo>
                        <a:pt x="766" y="5"/>
                      </a:lnTo>
                      <a:lnTo>
                        <a:pt x="754" y="5"/>
                      </a:lnTo>
                      <a:lnTo>
                        <a:pt x="737" y="11"/>
                      </a:lnTo>
                      <a:lnTo>
                        <a:pt x="731" y="11"/>
                      </a:lnTo>
                      <a:lnTo>
                        <a:pt x="725" y="11"/>
                      </a:lnTo>
                      <a:lnTo>
                        <a:pt x="713" y="11"/>
                      </a:lnTo>
                      <a:lnTo>
                        <a:pt x="702" y="17"/>
                      </a:lnTo>
                      <a:lnTo>
                        <a:pt x="696" y="17"/>
                      </a:lnTo>
                      <a:lnTo>
                        <a:pt x="690" y="17"/>
                      </a:lnTo>
                      <a:lnTo>
                        <a:pt x="673" y="17"/>
                      </a:lnTo>
                      <a:lnTo>
                        <a:pt x="667" y="23"/>
                      </a:lnTo>
                      <a:lnTo>
                        <a:pt x="661" y="23"/>
                      </a:lnTo>
                      <a:lnTo>
                        <a:pt x="632" y="29"/>
                      </a:lnTo>
                      <a:lnTo>
                        <a:pt x="632" y="23"/>
                      </a:lnTo>
                      <a:lnTo>
                        <a:pt x="615" y="29"/>
                      </a:lnTo>
                      <a:lnTo>
                        <a:pt x="603" y="29"/>
                      </a:lnTo>
                      <a:lnTo>
                        <a:pt x="597" y="29"/>
                      </a:lnTo>
                      <a:lnTo>
                        <a:pt x="597" y="34"/>
                      </a:lnTo>
                      <a:lnTo>
                        <a:pt x="586" y="34"/>
                      </a:lnTo>
                      <a:lnTo>
                        <a:pt x="574" y="34"/>
                      </a:lnTo>
                      <a:lnTo>
                        <a:pt x="568" y="34"/>
                      </a:lnTo>
                      <a:lnTo>
                        <a:pt x="557" y="34"/>
                      </a:lnTo>
                      <a:lnTo>
                        <a:pt x="545" y="40"/>
                      </a:lnTo>
                      <a:lnTo>
                        <a:pt x="528" y="40"/>
                      </a:lnTo>
                      <a:lnTo>
                        <a:pt x="516" y="40"/>
                      </a:lnTo>
                      <a:lnTo>
                        <a:pt x="499" y="46"/>
                      </a:lnTo>
                      <a:lnTo>
                        <a:pt x="493" y="46"/>
                      </a:lnTo>
                      <a:lnTo>
                        <a:pt x="487" y="46"/>
                      </a:lnTo>
                      <a:lnTo>
                        <a:pt x="481" y="46"/>
                      </a:lnTo>
                      <a:lnTo>
                        <a:pt x="476" y="46"/>
                      </a:lnTo>
                      <a:lnTo>
                        <a:pt x="464" y="46"/>
                      </a:lnTo>
                      <a:lnTo>
                        <a:pt x="452" y="46"/>
                      </a:lnTo>
                      <a:lnTo>
                        <a:pt x="447" y="46"/>
                      </a:lnTo>
                      <a:lnTo>
                        <a:pt x="435" y="52"/>
                      </a:lnTo>
                      <a:lnTo>
                        <a:pt x="429" y="52"/>
                      </a:lnTo>
                      <a:lnTo>
                        <a:pt x="417" y="52"/>
                      </a:lnTo>
                      <a:lnTo>
                        <a:pt x="406" y="52"/>
                      </a:lnTo>
                      <a:lnTo>
                        <a:pt x="400" y="52"/>
                      </a:lnTo>
                      <a:lnTo>
                        <a:pt x="394" y="52"/>
                      </a:lnTo>
                      <a:lnTo>
                        <a:pt x="388" y="52"/>
                      </a:lnTo>
                      <a:lnTo>
                        <a:pt x="383" y="52"/>
                      </a:lnTo>
                      <a:lnTo>
                        <a:pt x="371" y="58"/>
                      </a:lnTo>
                      <a:lnTo>
                        <a:pt x="365" y="58"/>
                      </a:lnTo>
                      <a:lnTo>
                        <a:pt x="359" y="58"/>
                      </a:lnTo>
                      <a:lnTo>
                        <a:pt x="354" y="58"/>
                      </a:lnTo>
                      <a:lnTo>
                        <a:pt x="348" y="58"/>
                      </a:lnTo>
                      <a:lnTo>
                        <a:pt x="336" y="58"/>
                      </a:lnTo>
                      <a:lnTo>
                        <a:pt x="330" y="58"/>
                      </a:lnTo>
                      <a:lnTo>
                        <a:pt x="319" y="58"/>
                      </a:lnTo>
                      <a:lnTo>
                        <a:pt x="313" y="58"/>
                      </a:lnTo>
                      <a:lnTo>
                        <a:pt x="307" y="63"/>
                      </a:lnTo>
                      <a:lnTo>
                        <a:pt x="301" y="63"/>
                      </a:lnTo>
                      <a:lnTo>
                        <a:pt x="290" y="63"/>
                      </a:lnTo>
                      <a:lnTo>
                        <a:pt x="284" y="63"/>
                      </a:lnTo>
                      <a:lnTo>
                        <a:pt x="272" y="63"/>
                      </a:lnTo>
                      <a:lnTo>
                        <a:pt x="261" y="63"/>
                      </a:lnTo>
                      <a:lnTo>
                        <a:pt x="249" y="69"/>
                      </a:lnTo>
                      <a:lnTo>
                        <a:pt x="243" y="69"/>
                      </a:lnTo>
                      <a:lnTo>
                        <a:pt x="232" y="69"/>
                      </a:lnTo>
                      <a:lnTo>
                        <a:pt x="214" y="69"/>
                      </a:lnTo>
                      <a:lnTo>
                        <a:pt x="197" y="69"/>
                      </a:lnTo>
                      <a:lnTo>
                        <a:pt x="197" y="75"/>
                      </a:lnTo>
                      <a:lnTo>
                        <a:pt x="197" y="87"/>
                      </a:lnTo>
                      <a:lnTo>
                        <a:pt x="180" y="92"/>
                      </a:lnTo>
                      <a:lnTo>
                        <a:pt x="168" y="92"/>
                      </a:lnTo>
                      <a:lnTo>
                        <a:pt x="156" y="92"/>
                      </a:lnTo>
                      <a:lnTo>
                        <a:pt x="151" y="92"/>
                      </a:lnTo>
                      <a:lnTo>
                        <a:pt x="133" y="92"/>
                      </a:lnTo>
                      <a:lnTo>
                        <a:pt x="127" y="92"/>
                      </a:lnTo>
                      <a:close/>
                    </a:path>
                  </a:pathLst>
                </a:custGeom>
                <a:solidFill>
                  <a:srgbClr val="70AD47">
                    <a:lumMod val="60000"/>
                    <a:lumOff val="4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42" name="Freeform 41"/>
                <p:cNvSpPr>
                  <a:spLocks/>
                </p:cNvSpPr>
                <p:nvPr/>
              </p:nvSpPr>
              <p:spPr bwMode="auto">
                <a:xfrm>
                  <a:off x="4746803" y="1544065"/>
                  <a:ext cx="581026" cy="1003033"/>
                </a:xfrm>
                <a:custGeom>
                  <a:avLst/>
                  <a:gdLst>
                    <a:gd name="T0" fmla="*/ 6 w 366"/>
                    <a:gd name="T1" fmla="*/ 261 h 632"/>
                    <a:gd name="T2" fmla="*/ 24 w 366"/>
                    <a:gd name="T3" fmla="*/ 232 h 632"/>
                    <a:gd name="T4" fmla="*/ 41 w 366"/>
                    <a:gd name="T5" fmla="*/ 191 h 632"/>
                    <a:gd name="T6" fmla="*/ 24 w 366"/>
                    <a:gd name="T7" fmla="*/ 162 h 632"/>
                    <a:gd name="T8" fmla="*/ 35 w 366"/>
                    <a:gd name="T9" fmla="*/ 139 h 632"/>
                    <a:gd name="T10" fmla="*/ 87 w 366"/>
                    <a:gd name="T11" fmla="*/ 122 h 632"/>
                    <a:gd name="T12" fmla="*/ 99 w 366"/>
                    <a:gd name="T13" fmla="*/ 99 h 632"/>
                    <a:gd name="T14" fmla="*/ 105 w 366"/>
                    <a:gd name="T15" fmla="*/ 70 h 632"/>
                    <a:gd name="T16" fmla="*/ 87 w 366"/>
                    <a:gd name="T17" fmla="*/ 52 h 632"/>
                    <a:gd name="T18" fmla="*/ 58 w 366"/>
                    <a:gd name="T19" fmla="*/ 23 h 632"/>
                    <a:gd name="T20" fmla="*/ 70 w 366"/>
                    <a:gd name="T21" fmla="*/ 17 h 632"/>
                    <a:gd name="T22" fmla="*/ 105 w 366"/>
                    <a:gd name="T23" fmla="*/ 12 h 632"/>
                    <a:gd name="T24" fmla="*/ 128 w 366"/>
                    <a:gd name="T25" fmla="*/ 12 h 632"/>
                    <a:gd name="T26" fmla="*/ 163 w 366"/>
                    <a:gd name="T27" fmla="*/ 12 h 632"/>
                    <a:gd name="T28" fmla="*/ 203 w 366"/>
                    <a:gd name="T29" fmla="*/ 6 h 632"/>
                    <a:gd name="T30" fmla="*/ 221 w 366"/>
                    <a:gd name="T31" fmla="*/ 6 h 632"/>
                    <a:gd name="T32" fmla="*/ 256 w 366"/>
                    <a:gd name="T33" fmla="*/ 0 h 632"/>
                    <a:gd name="T34" fmla="*/ 279 w 366"/>
                    <a:gd name="T35" fmla="*/ 0 h 632"/>
                    <a:gd name="T36" fmla="*/ 296 w 366"/>
                    <a:gd name="T37" fmla="*/ 29 h 632"/>
                    <a:gd name="T38" fmla="*/ 320 w 366"/>
                    <a:gd name="T39" fmla="*/ 70 h 632"/>
                    <a:gd name="T40" fmla="*/ 331 w 366"/>
                    <a:gd name="T41" fmla="*/ 110 h 632"/>
                    <a:gd name="T42" fmla="*/ 331 w 366"/>
                    <a:gd name="T43" fmla="*/ 133 h 632"/>
                    <a:gd name="T44" fmla="*/ 337 w 366"/>
                    <a:gd name="T45" fmla="*/ 151 h 632"/>
                    <a:gd name="T46" fmla="*/ 337 w 366"/>
                    <a:gd name="T47" fmla="*/ 168 h 632"/>
                    <a:gd name="T48" fmla="*/ 343 w 366"/>
                    <a:gd name="T49" fmla="*/ 209 h 632"/>
                    <a:gd name="T50" fmla="*/ 343 w 366"/>
                    <a:gd name="T51" fmla="*/ 232 h 632"/>
                    <a:gd name="T52" fmla="*/ 343 w 366"/>
                    <a:gd name="T53" fmla="*/ 267 h 632"/>
                    <a:gd name="T54" fmla="*/ 349 w 366"/>
                    <a:gd name="T55" fmla="*/ 302 h 632"/>
                    <a:gd name="T56" fmla="*/ 354 w 366"/>
                    <a:gd name="T57" fmla="*/ 336 h 632"/>
                    <a:gd name="T58" fmla="*/ 349 w 366"/>
                    <a:gd name="T59" fmla="*/ 377 h 632"/>
                    <a:gd name="T60" fmla="*/ 360 w 366"/>
                    <a:gd name="T61" fmla="*/ 406 h 632"/>
                    <a:gd name="T62" fmla="*/ 354 w 366"/>
                    <a:gd name="T63" fmla="*/ 441 h 632"/>
                    <a:gd name="T64" fmla="*/ 343 w 366"/>
                    <a:gd name="T65" fmla="*/ 458 h 632"/>
                    <a:gd name="T66" fmla="*/ 325 w 366"/>
                    <a:gd name="T67" fmla="*/ 493 h 632"/>
                    <a:gd name="T68" fmla="*/ 325 w 366"/>
                    <a:gd name="T69" fmla="*/ 534 h 632"/>
                    <a:gd name="T70" fmla="*/ 320 w 366"/>
                    <a:gd name="T71" fmla="*/ 557 h 632"/>
                    <a:gd name="T72" fmla="*/ 308 w 366"/>
                    <a:gd name="T73" fmla="*/ 574 h 632"/>
                    <a:gd name="T74" fmla="*/ 291 w 366"/>
                    <a:gd name="T75" fmla="*/ 597 h 632"/>
                    <a:gd name="T76" fmla="*/ 285 w 366"/>
                    <a:gd name="T77" fmla="*/ 621 h 632"/>
                    <a:gd name="T78" fmla="*/ 250 w 366"/>
                    <a:gd name="T79" fmla="*/ 603 h 632"/>
                    <a:gd name="T80" fmla="*/ 232 w 366"/>
                    <a:gd name="T81" fmla="*/ 626 h 632"/>
                    <a:gd name="T82" fmla="*/ 221 w 366"/>
                    <a:gd name="T83" fmla="*/ 626 h 632"/>
                    <a:gd name="T84" fmla="*/ 209 w 366"/>
                    <a:gd name="T85" fmla="*/ 632 h 632"/>
                    <a:gd name="T86" fmla="*/ 198 w 366"/>
                    <a:gd name="T87" fmla="*/ 597 h 632"/>
                    <a:gd name="T88" fmla="*/ 192 w 366"/>
                    <a:gd name="T89" fmla="*/ 568 h 632"/>
                    <a:gd name="T90" fmla="*/ 180 w 366"/>
                    <a:gd name="T91" fmla="*/ 545 h 632"/>
                    <a:gd name="T92" fmla="*/ 151 w 366"/>
                    <a:gd name="T93" fmla="*/ 539 h 632"/>
                    <a:gd name="T94" fmla="*/ 128 w 366"/>
                    <a:gd name="T95" fmla="*/ 516 h 632"/>
                    <a:gd name="T96" fmla="*/ 116 w 366"/>
                    <a:gd name="T97" fmla="*/ 481 h 632"/>
                    <a:gd name="T98" fmla="*/ 122 w 366"/>
                    <a:gd name="T99" fmla="*/ 464 h 632"/>
                    <a:gd name="T100" fmla="*/ 128 w 366"/>
                    <a:gd name="T101" fmla="*/ 435 h 632"/>
                    <a:gd name="T102" fmla="*/ 111 w 366"/>
                    <a:gd name="T103" fmla="*/ 418 h 632"/>
                    <a:gd name="T104" fmla="*/ 93 w 366"/>
                    <a:gd name="T105" fmla="*/ 429 h 632"/>
                    <a:gd name="T106" fmla="*/ 82 w 366"/>
                    <a:gd name="T107" fmla="*/ 418 h 632"/>
                    <a:gd name="T108" fmla="*/ 70 w 366"/>
                    <a:gd name="T109" fmla="*/ 383 h 632"/>
                    <a:gd name="T110" fmla="*/ 47 w 366"/>
                    <a:gd name="T111" fmla="*/ 365 h 632"/>
                    <a:gd name="T112" fmla="*/ 24 w 366"/>
                    <a:gd name="T113" fmla="*/ 342 h 632"/>
                    <a:gd name="T114" fmla="*/ 12 w 366"/>
                    <a:gd name="T115" fmla="*/ 325 h 632"/>
                    <a:gd name="T116" fmla="*/ 0 w 366"/>
                    <a:gd name="T117" fmla="*/ 307 h 63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366"/>
                    <a:gd name="T178" fmla="*/ 0 h 632"/>
                    <a:gd name="T179" fmla="*/ 366 w 366"/>
                    <a:gd name="T180" fmla="*/ 632 h 63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366" h="632">
                      <a:moveTo>
                        <a:pt x="0" y="284"/>
                      </a:moveTo>
                      <a:lnTo>
                        <a:pt x="0" y="278"/>
                      </a:lnTo>
                      <a:lnTo>
                        <a:pt x="6" y="261"/>
                      </a:lnTo>
                      <a:lnTo>
                        <a:pt x="12" y="261"/>
                      </a:lnTo>
                      <a:lnTo>
                        <a:pt x="6" y="238"/>
                      </a:lnTo>
                      <a:lnTo>
                        <a:pt x="24" y="232"/>
                      </a:lnTo>
                      <a:lnTo>
                        <a:pt x="29" y="226"/>
                      </a:lnTo>
                      <a:lnTo>
                        <a:pt x="29" y="220"/>
                      </a:lnTo>
                      <a:lnTo>
                        <a:pt x="41" y="191"/>
                      </a:lnTo>
                      <a:lnTo>
                        <a:pt x="41" y="180"/>
                      </a:lnTo>
                      <a:lnTo>
                        <a:pt x="35" y="168"/>
                      </a:lnTo>
                      <a:lnTo>
                        <a:pt x="24" y="162"/>
                      </a:lnTo>
                      <a:lnTo>
                        <a:pt x="29" y="151"/>
                      </a:lnTo>
                      <a:lnTo>
                        <a:pt x="29" y="145"/>
                      </a:lnTo>
                      <a:lnTo>
                        <a:pt x="35" y="139"/>
                      </a:lnTo>
                      <a:lnTo>
                        <a:pt x="53" y="139"/>
                      </a:lnTo>
                      <a:lnTo>
                        <a:pt x="76" y="128"/>
                      </a:lnTo>
                      <a:lnTo>
                        <a:pt x="87" y="122"/>
                      </a:lnTo>
                      <a:lnTo>
                        <a:pt x="93" y="104"/>
                      </a:lnTo>
                      <a:lnTo>
                        <a:pt x="93" y="99"/>
                      </a:lnTo>
                      <a:lnTo>
                        <a:pt x="99" y="99"/>
                      </a:lnTo>
                      <a:lnTo>
                        <a:pt x="105" y="87"/>
                      </a:lnTo>
                      <a:lnTo>
                        <a:pt x="105" y="81"/>
                      </a:lnTo>
                      <a:lnTo>
                        <a:pt x="105" y="70"/>
                      </a:lnTo>
                      <a:lnTo>
                        <a:pt x="99" y="58"/>
                      </a:lnTo>
                      <a:lnTo>
                        <a:pt x="93" y="52"/>
                      </a:lnTo>
                      <a:lnTo>
                        <a:pt x="87" y="52"/>
                      </a:lnTo>
                      <a:lnTo>
                        <a:pt x="82" y="46"/>
                      </a:lnTo>
                      <a:lnTo>
                        <a:pt x="76" y="29"/>
                      </a:lnTo>
                      <a:lnTo>
                        <a:pt x="58" y="23"/>
                      </a:lnTo>
                      <a:lnTo>
                        <a:pt x="58" y="17"/>
                      </a:lnTo>
                      <a:lnTo>
                        <a:pt x="64" y="17"/>
                      </a:lnTo>
                      <a:lnTo>
                        <a:pt x="70" y="17"/>
                      </a:lnTo>
                      <a:lnTo>
                        <a:pt x="76" y="17"/>
                      </a:lnTo>
                      <a:lnTo>
                        <a:pt x="99" y="12"/>
                      </a:lnTo>
                      <a:lnTo>
                        <a:pt x="105" y="12"/>
                      </a:lnTo>
                      <a:lnTo>
                        <a:pt x="116" y="12"/>
                      </a:lnTo>
                      <a:lnTo>
                        <a:pt x="122" y="12"/>
                      </a:lnTo>
                      <a:lnTo>
                        <a:pt x="128" y="12"/>
                      </a:lnTo>
                      <a:lnTo>
                        <a:pt x="145" y="12"/>
                      </a:lnTo>
                      <a:lnTo>
                        <a:pt x="151" y="12"/>
                      </a:lnTo>
                      <a:lnTo>
                        <a:pt x="163" y="12"/>
                      </a:lnTo>
                      <a:lnTo>
                        <a:pt x="174" y="12"/>
                      </a:lnTo>
                      <a:lnTo>
                        <a:pt x="192" y="6"/>
                      </a:lnTo>
                      <a:lnTo>
                        <a:pt x="203" y="6"/>
                      </a:lnTo>
                      <a:lnTo>
                        <a:pt x="209" y="6"/>
                      </a:lnTo>
                      <a:lnTo>
                        <a:pt x="215" y="6"/>
                      </a:lnTo>
                      <a:lnTo>
                        <a:pt x="221" y="6"/>
                      </a:lnTo>
                      <a:lnTo>
                        <a:pt x="227" y="6"/>
                      </a:lnTo>
                      <a:lnTo>
                        <a:pt x="256" y="6"/>
                      </a:lnTo>
                      <a:lnTo>
                        <a:pt x="256" y="0"/>
                      </a:lnTo>
                      <a:lnTo>
                        <a:pt x="261" y="0"/>
                      </a:lnTo>
                      <a:lnTo>
                        <a:pt x="267" y="0"/>
                      </a:lnTo>
                      <a:lnTo>
                        <a:pt x="279" y="0"/>
                      </a:lnTo>
                      <a:lnTo>
                        <a:pt x="296" y="0"/>
                      </a:lnTo>
                      <a:lnTo>
                        <a:pt x="296" y="12"/>
                      </a:lnTo>
                      <a:lnTo>
                        <a:pt x="296" y="29"/>
                      </a:lnTo>
                      <a:lnTo>
                        <a:pt x="302" y="35"/>
                      </a:lnTo>
                      <a:lnTo>
                        <a:pt x="314" y="52"/>
                      </a:lnTo>
                      <a:lnTo>
                        <a:pt x="320" y="70"/>
                      </a:lnTo>
                      <a:lnTo>
                        <a:pt x="331" y="87"/>
                      </a:lnTo>
                      <a:lnTo>
                        <a:pt x="331" y="104"/>
                      </a:lnTo>
                      <a:lnTo>
                        <a:pt x="331" y="110"/>
                      </a:lnTo>
                      <a:lnTo>
                        <a:pt x="331" y="122"/>
                      </a:lnTo>
                      <a:lnTo>
                        <a:pt x="331" y="128"/>
                      </a:lnTo>
                      <a:lnTo>
                        <a:pt x="331" y="133"/>
                      </a:lnTo>
                      <a:lnTo>
                        <a:pt x="331" y="139"/>
                      </a:lnTo>
                      <a:lnTo>
                        <a:pt x="337" y="145"/>
                      </a:lnTo>
                      <a:lnTo>
                        <a:pt x="337" y="151"/>
                      </a:lnTo>
                      <a:lnTo>
                        <a:pt x="337" y="157"/>
                      </a:lnTo>
                      <a:lnTo>
                        <a:pt x="337" y="162"/>
                      </a:lnTo>
                      <a:lnTo>
                        <a:pt x="337" y="168"/>
                      </a:lnTo>
                      <a:lnTo>
                        <a:pt x="337" y="174"/>
                      </a:lnTo>
                      <a:lnTo>
                        <a:pt x="337" y="197"/>
                      </a:lnTo>
                      <a:lnTo>
                        <a:pt x="343" y="209"/>
                      </a:lnTo>
                      <a:lnTo>
                        <a:pt x="343" y="215"/>
                      </a:lnTo>
                      <a:lnTo>
                        <a:pt x="343" y="226"/>
                      </a:lnTo>
                      <a:lnTo>
                        <a:pt x="343" y="232"/>
                      </a:lnTo>
                      <a:lnTo>
                        <a:pt x="343" y="244"/>
                      </a:lnTo>
                      <a:lnTo>
                        <a:pt x="343" y="261"/>
                      </a:lnTo>
                      <a:lnTo>
                        <a:pt x="343" y="267"/>
                      </a:lnTo>
                      <a:lnTo>
                        <a:pt x="349" y="273"/>
                      </a:lnTo>
                      <a:lnTo>
                        <a:pt x="349" y="290"/>
                      </a:lnTo>
                      <a:lnTo>
                        <a:pt x="349" y="302"/>
                      </a:lnTo>
                      <a:lnTo>
                        <a:pt x="349" y="313"/>
                      </a:lnTo>
                      <a:lnTo>
                        <a:pt x="349" y="325"/>
                      </a:lnTo>
                      <a:lnTo>
                        <a:pt x="354" y="336"/>
                      </a:lnTo>
                      <a:lnTo>
                        <a:pt x="354" y="354"/>
                      </a:lnTo>
                      <a:lnTo>
                        <a:pt x="349" y="365"/>
                      </a:lnTo>
                      <a:lnTo>
                        <a:pt x="349" y="377"/>
                      </a:lnTo>
                      <a:lnTo>
                        <a:pt x="349" y="383"/>
                      </a:lnTo>
                      <a:lnTo>
                        <a:pt x="354" y="394"/>
                      </a:lnTo>
                      <a:lnTo>
                        <a:pt x="360" y="406"/>
                      </a:lnTo>
                      <a:lnTo>
                        <a:pt x="360" y="412"/>
                      </a:lnTo>
                      <a:lnTo>
                        <a:pt x="366" y="423"/>
                      </a:lnTo>
                      <a:lnTo>
                        <a:pt x="354" y="441"/>
                      </a:lnTo>
                      <a:lnTo>
                        <a:pt x="349" y="452"/>
                      </a:lnTo>
                      <a:lnTo>
                        <a:pt x="343" y="452"/>
                      </a:lnTo>
                      <a:lnTo>
                        <a:pt x="343" y="458"/>
                      </a:lnTo>
                      <a:lnTo>
                        <a:pt x="343" y="464"/>
                      </a:lnTo>
                      <a:lnTo>
                        <a:pt x="325" y="481"/>
                      </a:lnTo>
                      <a:lnTo>
                        <a:pt x="325" y="493"/>
                      </a:lnTo>
                      <a:lnTo>
                        <a:pt x="325" y="505"/>
                      </a:lnTo>
                      <a:lnTo>
                        <a:pt x="320" y="522"/>
                      </a:lnTo>
                      <a:lnTo>
                        <a:pt x="325" y="534"/>
                      </a:lnTo>
                      <a:lnTo>
                        <a:pt x="320" y="545"/>
                      </a:lnTo>
                      <a:lnTo>
                        <a:pt x="320" y="551"/>
                      </a:lnTo>
                      <a:lnTo>
                        <a:pt x="320" y="557"/>
                      </a:lnTo>
                      <a:lnTo>
                        <a:pt x="325" y="568"/>
                      </a:lnTo>
                      <a:lnTo>
                        <a:pt x="320" y="568"/>
                      </a:lnTo>
                      <a:lnTo>
                        <a:pt x="308" y="574"/>
                      </a:lnTo>
                      <a:lnTo>
                        <a:pt x="302" y="580"/>
                      </a:lnTo>
                      <a:lnTo>
                        <a:pt x="296" y="580"/>
                      </a:lnTo>
                      <a:lnTo>
                        <a:pt x="291" y="597"/>
                      </a:lnTo>
                      <a:lnTo>
                        <a:pt x="296" y="615"/>
                      </a:lnTo>
                      <a:lnTo>
                        <a:pt x="291" y="621"/>
                      </a:lnTo>
                      <a:lnTo>
                        <a:pt x="285" y="621"/>
                      </a:lnTo>
                      <a:lnTo>
                        <a:pt x="279" y="615"/>
                      </a:lnTo>
                      <a:lnTo>
                        <a:pt x="267" y="609"/>
                      </a:lnTo>
                      <a:lnTo>
                        <a:pt x="250" y="603"/>
                      </a:lnTo>
                      <a:lnTo>
                        <a:pt x="244" y="603"/>
                      </a:lnTo>
                      <a:lnTo>
                        <a:pt x="232" y="621"/>
                      </a:lnTo>
                      <a:lnTo>
                        <a:pt x="232" y="626"/>
                      </a:lnTo>
                      <a:lnTo>
                        <a:pt x="227" y="626"/>
                      </a:lnTo>
                      <a:lnTo>
                        <a:pt x="232" y="632"/>
                      </a:lnTo>
                      <a:lnTo>
                        <a:pt x="221" y="626"/>
                      </a:lnTo>
                      <a:lnTo>
                        <a:pt x="221" y="632"/>
                      </a:lnTo>
                      <a:lnTo>
                        <a:pt x="215" y="632"/>
                      </a:lnTo>
                      <a:lnTo>
                        <a:pt x="209" y="632"/>
                      </a:lnTo>
                      <a:lnTo>
                        <a:pt x="203" y="603"/>
                      </a:lnTo>
                      <a:lnTo>
                        <a:pt x="198" y="603"/>
                      </a:lnTo>
                      <a:lnTo>
                        <a:pt x="198" y="597"/>
                      </a:lnTo>
                      <a:lnTo>
                        <a:pt x="203" y="597"/>
                      </a:lnTo>
                      <a:lnTo>
                        <a:pt x="203" y="592"/>
                      </a:lnTo>
                      <a:lnTo>
                        <a:pt x="192" y="568"/>
                      </a:lnTo>
                      <a:lnTo>
                        <a:pt x="198" y="563"/>
                      </a:lnTo>
                      <a:lnTo>
                        <a:pt x="180" y="551"/>
                      </a:lnTo>
                      <a:lnTo>
                        <a:pt x="180" y="545"/>
                      </a:lnTo>
                      <a:lnTo>
                        <a:pt x="169" y="539"/>
                      </a:lnTo>
                      <a:lnTo>
                        <a:pt x="157" y="539"/>
                      </a:lnTo>
                      <a:lnTo>
                        <a:pt x="151" y="539"/>
                      </a:lnTo>
                      <a:lnTo>
                        <a:pt x="145" y="528"/>
                      </a:lnTo>
                      <a:lnTo>
                        <a:pt x="134" y="516"/>
                      </a:lnTo>
                      <a:lnTo>
                        <a:pt x="128" y="516"/>
                      </a:lnTo>
                      <a:lnTo>
                        <a:pt x="122" y="510"/>
                      </a:lnTo>
                      <a:lnTo>
                        <a:pt x="111" y="499"/>
                      </a:lnTo>
                      <a:lnTo>
                        <a:pt x="116" y="481"/>
                      </a:lnTo>
                      <a:lnTo>
                        <a:pt x="116" y="470"/>
                      </a:lnTo>
                      <a:lnTo>
                        <a:pt x="122" y="470"/>
                      </a:lnTo>
                      <a:lnTo>
                        <a:pt x="122" y="464"/>
                      </a:lnTo>
                      <a:lnTo>
                        <a:pt x="128" y="452"/>
                      </a:lnTo>
                      <a:lnTo>
                        <a:pt x="128" y="441"/>
                      </a:lnTo>
                      <a:lnTo>
                        <a:pt x="128" y="435"/>
                      </a:lnTo>
                      <a:lnTo>
                        <a:pt x="128" y="429"/>
                      </a:lnTo>
                      <a:lnTo>
                        <a:pt x="116" y="423"/>
                      </a:lnTo>
                      <a:lnTo>
                        <a:pt x="111" y="418"/>
                      </a:lnTo>
                      <a:lnTo>
                        <a:pt x="105" y="418"/>
                      </a:lnTo>
                      <a:lnTo>
                        <a:pt x="99" y="418"/>
                      </a:lnTo>
                      <a:lnTo>
                        <a:pt x="93" y="429"/>
                      </a:lnTo>
                      <a:lnTo>
                        <a:pt x="87" y="429"/>
                      </a:lnTo>
                      <a:lnTo>
                        <a:pt x="82" y="423"/>
                      </a:lnTo>
                      <a:lnTo>
                        <a:pt x="82" y="418"/>
                      </a:lnTo>
                      <a:lnTo>
                        <a:pt x="76" y="400"/>
                      </a:lnTo>
                      <a:lnTo>
                        <a:pt x="76" y="389"/>
                      </a:lnTo>
                      <a:lnTo>
                        <a:pt x="70" y="383"/>
                      </a:lnTo>
                      <a:lnTo>
                        <a:pt x="64" y="377"/>
                      </a:lnTo>
                      <a:lnTo>
                        <a:pt x="53" y="371"/>
                      </a:lnTo>
                      <a:lnTo>
                        <a:pt x="47" y="365"/>
                      </a:lnTo>
                      <a:lnTo>
                        <a:pt x="35" y="354"/>
                      </a:lnTo>
                      <a:lnTo>
                        <a:pt x="29" y="348"/>
                      </a:lnTo>
                      <a:lnTo>
                        <a:pt x="24" y="342"/>
                      </a:lnTo>
                      <a:lnTo>
                        <a:pt x="18" y="342"/>
                      </a:lnTo>
                      <a:lnTo>
                        <a:pt x="12" y="331"/>
                      </a:lnTo>
                      <a:lnTo>
                        <a:pt x="12" y="325"/>
                      </a:lnTo>
                      <a:lnTo>
                        <a:pt x="6" y="319"/>
                      </a:lnTo>
                      <a:lnTo>
                        <a:pt x="6" y="313"/>
                      </a:lnTo>
                      <a:lnTo>
                        <a:pt x="0" y="307"/>
                      </a:lnTo>
                      <a:lnTo>
                        <a:pt x="0" y="290"/>
                      </a:lnTo>
                      <a:lnTo>
                        <a:pt x="0" y="284"/>
                      </a:lnTo>
                      <a:close/>
                    </a:path>
                  </a:pathLst>
                </a:custGeom>
                <a:solidFill>
                  <a:srgbClr val="5B9BD5">
                    <a:lumMod val="20000"/>
                    <a:lumOff val="8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43" name="Freeform 42"/>
                <p:cNvSpPr>
                  <a:spLocks/>
                </p:cNvSpPr>
                <p:nvPr/>
              </p:nvSpPr>
              <p:spPr bwMode="auto">
                <a:xfrm>
                  <a:off x="3776663" y="1472806"/>
                  <a:ext cx="876300" cy="561825"/>
                </a:xfrm>
                <a:custGeom>
                  <a:avLst/>
                  <a:gdLst>
                    <a:gd name="T0" fmla="*/ 233 w 552"/>
                    <a:gd name="T1" fmla="*/ 6 h 354"/>
                    <a:gd name="T2" fmla="*/ 186 w 552"/>
                    <a:gd name="T3" fmla="*/ 6 h 354"/>
                    <a:gd name="T4" fmla="*/ 157 w 552"/>
                    <a:gd name="T5" fmla="*/ 12 h 354"/>
                    <a:gd name="T6" fmla="*/ 128 w 552"/>
                    <a:gd name="T7" fmla="*/ 12 h 354"/>
                    <a:gd name="T8" fmla="*/ 99 w 552"/>
                    <a:gd name="T9" fmla="*/ 12 h 354"/>
                    <a:gd name="T10" fmla="*/ 58 w 552"/>
                    <a:gd name="T11" fmla="*/ 12 h 354"/>
                    <a:gd name="T12" fmla="*/ 35 w 552"/>
                    <a:gd name="T13" fmla="*/ 12 h 354"/>
                    <a:gd name="T14" fmla="*/ 12 w 552"/>
                    <a:gd name="T15" fmla="*/ 12 h 354"/>
                    <a:gd name="T16" fmla="*/ 6 w 552"/>
                    <a:gd name="T17" fmla="*/ 35 h 354"/>
                    <a:gd name="T18" fmla="*/ 18 w 552"/>
                    <a:gd name="T19" fmla="*/ 58 h 354"/>
                    <a:gd name="T20" fmla="*/ 6 w 552"/>
                    <a:gd name="T21" fmla="*/ 76 h 354"/>
                    <a:gd name="T22" fmla="*/ 12 w 552"/>
                    <a:gd name="T23" fmla="*/ 116 h 354"/>
                    <a:gd name="T24" fmla="*/ 24 w 552"/>
                    <a:gd name="T25" fmla="*/ 151 h 354"/>
                    <a:gd name="T26" fmla="*/ 29 w 552"/>
                    <a:gd name="T27" fmla="*/ 174 h 354"/>
                    <a:gd name="T28" fmla="*/ 41 w 552"/>
                    <a:gd name="T29" fmla="*/ 197 h 354"/>
                    <a:gd name="T30" fmla="*/ 47 w 552"/>
                    <a:gd name="T31" fmla="*/ 226 h 354"/>
                    <a:gd name="T32" fmla="*/ 53 w 552"/>
                    <a:gd name="T33" fmla="*/ 244 h 354"/>
                    <a:gd name="T34" fmla="*/ 58 w 552"/>
                    <a:gd name="T35" fmla="*/ 267 h 354"/>
                    <a:gd name="T36" fmla="*/ 64 w 552"/>
                    <a:gd name="T37" fmla="*/ 279 h 354"/>
                    <a:gd name="T38" fmla="*/ 70 w 552"/>
                    <a:gd name="T39" fmla="*/ 308 h 354"/>
                    <a:gd name="T40" fmla="*/ 76 w 552"/>
                    <a:gd name="T41" fmla="*/ 337 h 354"/>
                    <a:gd name="T42" fmla="*/ 111 w 552"/>
                    <a:gd name="T43" fmla="*/ 342 h 354"/>
                    <a:gd name="T44" fmla="*/ 140 w 552"/>
                    <a:gd name="T45" fmla="*/ 342 h 354"/>
                    <a:gd name="T46" fmla="*/ 175 w 552"/>
                    <a:gd name="T47" fmla="*/ 342 h 354"/>
                    <a:gd name="T48" fmla="*/ 209 w 552"/>
                    <a:gd name="T49" fmla="*/ 342 h 354"/>
                    <a:gd name="T50" fmla="*/ 250 w 552"/>
                    <a:gd name="T51" fmla="*/ 342 h 354"/>
                    <a:gd name="T52" fmla="*/ 279 w 552"/>
                    <a:gd name="T53" fmla="*/ 337 h 354"/>
                    <a:gd name="T54" fmla="*/ 314 w 552"/>
                    <a:gd name="T55" fmla="*/ 337 h 354"/>
                    <a:gd name="T56" fmla="*/ 354 w 552"/>
                    <a:gd name="T57" fmla="*/ 337 h 354"/>
                    <a:gd name="T58" fmla="*/ 383 w 552"/>
                    <a:gd name="T59" fmla="*/ 331 h 354"/>
                    <a:gd name="T60" fmla="*/ 407 w 552"/>
                    <a:gd name="T61" fmla="*/ 331 h 354"/>
                    <a:gd name="T62" fmla="*/ 447 w 552"/>
                    <a:gd name="T63" fmla="*/ 354 h 354"/>
                    <a:gd name="T64" fmla="*/ 453 w 552"/>
                    <a:gd name="T65" fmla="*/ 331 h 354"/>
                    <a:gd name="T66" fmla="*/ 476 w 552"/>
                    <a:gd name="T67" fmla="*/ 313 h 354"/>
                    <a:gd name="T68" fmla="*/ 482 w 552"/>
                    <a:gd name="T69" fmla="*/ 261 h 354"/>
                    <a:gd name="T70" fmla="*/ 476 w 552"/>
                    <a:gd name="T71" fmla="*/ 238 h 354"/>
                    <a:gd name="T72" fmla="*/ 523 w 552"/>
                    <a:gd name="T73" fmla="*/ 221 h 354"/>
                    <a:gd name="T74" fmla="*/ 540 w 552"/>
                    <a:gd name="T75" fmla="*/ 192 h 354"/>
                    <a:gd name="T76" fmla="*/ 552 w 552"/>
                    <a:gd name="T77" fmla="*/ 174 h 354"/>
                    <a:gd name="T78" fmla="*/ 540 w 552"/>
                    <a:gd name="T79" fmla="*/ 145 h 354"/>
                    <a:gd name="T80" fmla="*/ 523 w 552"/>
                    <a:gd name="T81" fmla="*/ 122 h 354"/>
                    <a:gd name="T82" fmla="*/ 500 w 552"/>
                    <a:gd name="T83" fmla="*/ 99 h 354"/>
                    <a:gd name="T84" fmla="*/ 471 w 552"/>
                    <a:gd name="T85" fmla="*/ 81 h 354"/>
                    <a:gd name="T86" fmla="*/ 459 w 552"/>
                    <a:gd name="T87" fmla="*/ 47 h 354"/>
                    <a:gd name="T88" fmla="*/ 453 w 552"/>
                    <a:gd name="T89" fmla="*/ 6 h 354"/>
                    <a:gd name="T90" fmla="*/ 442 w 552"/>
                    <a:gd name="T91" fmla="*/ 0 h 354"/>
                    <a:gd name="T92" fmla="*/ 378 w 552"/>
                    <a:gd name="T93" fmla="*/ 0 h 354"/>
                    <a:gd name="T94" fmla="*/ 302 w 552"/>
                    <a:gd name="T95" fmla="*/ 6 h 354"/>
                    <a:gd name="T96" fmla="*/ 267 w 552"/>
                    <a:gd name="T97" fmla="*/ 6 h 354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552"/>
                    <a:gd name="T148" fmla="*/ 0 h 354"/>
                    <a:gd name="T149" fmla="*/ 552 w 552"/>
                    <a:gd name="T150" fmla="*/ 354 h 354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552" h="354">
                      <a:moveTo>
                        <a:pt x="262" y="6"/>
                      </a:moveTo>
                      <a:lnTo>
                        <a:pt x="250" y="6"/>
                      </a:lnTo>
                      <a:lnTo>
                        <a:pt x="233" y="6"/>
                      </a:lnTo>
                      <a:lnTo>
                        <a:pt x="221" y="6"/>
                      </a:lnTo>
                      <a:lnTo>
                        <a:pt x="198" y="6"/>
                      </a:lnTo>
                      <a:lnTo>
                        <a:pt x="186" y="6"/>
                      </a:lnTo>
                      <a:lnTo>
                        <a:pt x="180" y="12"/>
                      </a:lnTo>
                      <a:lnTo>
                        <a:pt x="163" y="12"/>
                      </a:lnTo>
                      <a:lnTo>
                        <a:pt x="157" y="12"/>
                      </a:lnTo>
                      <a:lnTo>
                        <a:pt x="151" y="12"/>
                      </a:lnTo>
                      <a:lnTo>
                        <a:pt x="146" y="12"/>
                      </a:lnTo>
                      <a:lnTo>
                        <a:pt x="128" y="12"/>
                      </a:lnTo>
                      <a:lnTo>
                        <a:pt x="117" y="12"/>
                      </a:lnTo>
                      <a:lnTo>
                        <a:pt x="105" y="12"/>
                      </a:lnTo>
                      <a:lnTo>
                        <a:pt x="99" y="12"/>
                      </a:lnTo>
                      <a:lnTo>
                        <a:pt x="76" y="12"/>
                      </a:lnTo>
                      <a:lnTo>
                        <a:pt x="64" y="12"/>
                      </a:lnTo>
                      <a:lnTo>
                        <a:pt x="58" y="12"/>
                      </a:lnTo>
                      <a:lnTo>
                        <a:pt x="53" y="12"/>
                      </a:lnTo>
                      <a:lnTo>
                        <a:pt x="47" y="12"/>
                      </a:lnTo>
                      <a:lnTo>
                        <a:pt x="35" y="12"/>
                      </a:lnTo>
                      <a:lnTo>
                        <a:pt x="24" y="12"/>
                      </a:lnTo>
                      <a:lnTo>
                        <a:pt x="18" y="12"/>
                      </a:lnTo>
                      <a:lnTo>
                        <a:pt x="12" y="12"/>
                      </a:lnTo>
                      <a:lnTo>
                        <a:pt x="6" y="12"/>
                      </a:lnTo>
                      <a:lnTo>
                        <a:pt x="12" y="23"/>
                      </a:lnTo>
                      <a:lnTo>
                        <a:pt x="6" y="35"/>
                      </a:lnTo>
                      <a:lnTo>
                        <a:pt x="12" y="41"/>
                      </a:lnTo>
                      <a:lnTo>
                        <a:pt x="18" y="52"/>
                      </a:lnTo>
                      <a:lnTo>
                        <a:pt x="18" y="58"/>
                      </a:lnTo>
                      <a:lnTo>
                        <a:pt x="12" y="64"/>
                      </a:lnTo>
                      <a:lnTo>
                        <a:pt x="12" y="70"/>
                      </a:lnTo>
                      <a:lnTo>
                        <a:pt x="6" y="76"/>
                      </a:lnTo>
                      <a:lnTo>
                        <a:pt x="0" y="99"/>
                      </a:lnTo>
                      <a:lnTo>
                        <a:pt x="12" y="110"/>
                      </a:lnTo>
                      <a:lnTo>
                        <a:pt x="12" y="116"/>
                      </a:lnTo>
                      <a:lnTo>
                        <a:pt x="12" y="122"/>
                      </a:lnTo>
                      <a:lnTo>
                        <a:pt x="18" y="128"/>
                      </a:lnTo>
                      <a:lnTo>
                        <a:pt x="24" y="151"/>
                      </a:lnTo>
                      <a:lnTo>
                        <a:pt x="24" y="157"/>
                      </a:lnTo>
                      <a:lnTo>
                        <a:pt x="29" y="168"/>
                      </a:lnTo>
                      <a:lnTo>
                        <a:pt x="29" y="174"/>
                      </a:lnTo>
                      <a:lnTo>
                        <a:pt x="35" y="180"/>
                      </a:lnTo>
                      <a:lnTo>
                        <a:pt x="41" y="180"/>
                      </a:lnTo>
                      <a:lnTo>
                        <a:pt x="41" y="197"/>
                      </a:lnTo>
                      <a:lnTo>
                        <a:pt x="47" y="209"/>
                      </a:lnTo>
                      <a:lnTo>
                        <a:pt x="41" y="215"/>
                      </a:lnTo>
                      <a:lnTo>
                        <a:pt x="47" y="226"/>
                      </a:lnTo>
                      <a:lnTo>
                        <a:pt x="53" y="232"/>
                      </a:lnTo>
                      <a:lnTo>
                        <a:pt x="53" y="238"/>
                      </a:lnTo>
                      <a:lnTo>
                        <a:pt x="53" y="244"/>
                      </a:lnTo>
                      <a:lnTo>
                        <a:pt x="58" y="250"/>
                      </a:lnTo>
                      <a:lnTo>
                        <a:pt x="64" y="261"/>
                      </a:lnTo>
                      <a:lnTo>
                        <a:pt x="58" y="267"/>
                      </a:lnTo>
                      <a:lnTo>
                        <a:pt x="58" y="273"/>
                      </a:lnTo>
                      <a:lnTo>
                        <a:pt x="64" y="273"/>
                      </a:lnTo>
                      <a:lnTo>
                        <a:pt x="64" y="279"/>
                      </a:lnTo>
                      <a:lnTo>
                        <a:pt x="64" y="290"/>
                      </a:lnTo>
                      <a:lnTo>
                        <a:pt x="64" y="296"/>
                      </a:lnTo>
                      <a:lnTo>
                        <a:pt x="70" y="308"/>
                      </a:lnTo>
                      <a:lnTo>
                        <a:pt x="70" y="319"/>
                      </a:lnTo>
                      <a:lnTo>
                        <a:pt x="64" y="325"/>
                      </a:lnTo>
                      <a:lnTo>
                        <a:pt x="76" y="337"/>
                      </a:lnTo>
                      <a:lnTo>
                        <a:pt x="76" y="342"/>
                      </a:lnTo>
                      <a:lnTo>
                        <a:pt x="99" y="342"/>
                      </a:lnTo>
                      <a:lnTo>
                        <a:pt x="111" y="342"/>
                      </a:lnTo>
                      <a:lnTo>
                        <a:pt x="117" y="342"/>
                      </a:lnTo>
                      <a:lnTo>
                        <a:pt x="122" y="342"/>
                      </a:lnTo>
                      <a:lnTo>
                        <a:pt x="140" y="342"/>
                      </a:lnTo>
                      <a:lnTo>
                        <a:pt x="146" y="342"/>
                      </a:lnTo>
                      <a:lnTo>
                        <a:pt x="163" y="342"/>
                      </a:lnTo>
                      <a:lnTo>
                        <a:pt x="175" y="342"/>
                      </a:lnTo>
                      <a:lnTo>
                        <a:pt x="186" y="342"/>
                      </a:lnTo>
                      <a:lnTo>
                        <a:pt x="204" y="342"/>
                      </a:lnTo>
                      <a:lnTo>
                        <a:pt x="209" y="342"/>
                      </a:lnTo>
                      <a:lnTo>
                        <a:pt x="227" y="342"/>
                      </a:lnTo>
                      <a:lnTo>
                        <a:pt x="244" y="342"/>
                      </a:lnTo>
                      <a:lnTo>
                        <a:pt x="250" y="342"/>
                      </a:lnTo>
                      <a:lnTo>
                        <a:pt x="267" y="337"/>
                      </a:lnTo>
                      <a:lnTo>
                        <a:pt x="273" y="337"/>
                      </a:lnTo>
                      <a:lnTo>
                        <a:pt x="279" y="337"/>
                      </a:lnTo>
                      <a:lnTo>
                        <a:pt x="291" y="337"/>
                      </a:lnTo>
                      <a:lnTo>
                        <a:pt x="308" y="337"/>
                      </a:lnTo>
                      <a:lnTo>
                        <a:pt x="314" y="337"/>
                      </a:lnTo>
                      <a:lnTo>
                        <a:pt x="337" y="337"/>
                      </a:lnTo>
                      <a:lnTo>
                        <a:pt x="343" y="337"/>
                      </a:lnTo>
                      <a:lnTo>
                        <a:pt x="354" y="337"/>
                      </a:lnTo>
                      <a:lnTo>
                        <a:pt x="372" y="337"/>
                      </a:lnTo>
                      <a:lnTo>
                        <a:pt x="378" y="331"/>
                      </a:lnTo>
                      <a:lnTo>
                        <a:pt x="383" y="331"/>
                      </a:lnTo>
                      <a:lnTo>
                        <a:pt x="395" y="331"/>
                      </a:lnTo>
                      <a:lnTo>
                        <a:pt x="401" y="331"/>
                      </a:lnTo>
                      <a:lnTo>
                        <a:pt x="407" y="331"/>
                      </a:lnTo>
                      <a:lnTo>
                        <a:pt x="424" y="331"/>
                      </a:lnTo>
                      <a:lnTo>
                        <a:pt x="436" y="337"/>
                      </a:lnTo>
                      <a:lnTo>
                        <a:pt x="447" y="354"/>
                      </a:lnTo>
                      <a:lnTo>
                        <a:pt x="453" y="354"/>
                      </a:lnTo>
                      <a:lnTo>
                        <a:pt x="459" y="354"/>
                      </a:lnTo>
                      <a:lnTo>
                        <a:pt x="453" y="331"/>
                      </a:lnTo>
                      <a:lnTo>
                        <a:pt x="471" y="325"/>
                      </a:lnTo>
                      <a:lnTo>
                        <a:pt x="476" y="319"/>
                      </a:lnTo>
                      <a:lnTo>
                        <a:pt x="476" y="313"/>
                      </a:lnTo>
                      <a:lnTo>
                        <a:pt x="488" y="284"/>
                      </a:lnTo>
                      <a:lnTo>
                        <a:pt x="488" y="273"/>
                      </a:lnTo>
                      <a:lnTo>
                        <a:pt x="482" y="261"/>
                      </a:lnTo>
                      <a:lnTo>
                        <a:pt x="471" y="255"/>
                      </a:lnTo>
                      <a:lnTo>
                        <a:pt x="476" y="244"/>
                      </a:lnTo>
                      <a:lnTo>
                        <a:pt x="476" y="238"/>
                      </a:lnTo>
                      <a:lnTo>
                        <a:pt x="482" y="232"/>
                      </a:lnTo>
                      <a:lnTo>
                        <a:pt x="500" y="232"/>
                      </a:lnTo>
                      <a:lnTo>
                        <a:pt x="523" y="221"/>
                      </a:lnTo>
                      <a:lnTo>
                        <a:pt x="534" y="215"/>
                      </a:lnTo>
                      <a:lnTo>
                        <a:pt x="540" y="197"/>
                      </a:lnTo>
                      <a:lnTo>
                        <a:pt x="540" y="192"/>
                      </a:lnTo>
                      <a:lnTo>
                        <a:pt x="546" y="192"/>
                      </a:lnTo>
                      <a:lnTo>
                        <a:pt x="552" y="180"/>
                      </a:lnTo>
                      <a:lnTo>
                        <a:pt x="552" y="174"/>
                      </a:lnTo>
                      <a:lnTo>
                        <a:pt x="552" y="163"/>
                      </a:lnTo>
                      <a:lnTo>
                        <a:pt x="546" y="151"/>
                      </a:lnTo>
                      <a:lnTo>
                        <a:pt x="540" y="145"/>
                      </a:lnTo>
                      <a:lnTo>
                        <a:pt x="534" y="145"/>
                      </a:lnTo>
                      <a:lnTo>
                        <a:pt x="529" y="139"/>
                      </a:lnTo>
                      <a:lnTo>
                        <a:pt x="523" y="122"/>
                      </a:lnTo>
                      <a:lnTo>
                        <a:pt x="505" y="116"/>
                      </a:lnTo>
                      <a:lnTo>
                        <a:pt x="505" y="110"/>
                      </a:lnTo>
                      <a:lnTo>
                        <a:pt x="500" y="99"/>
                      </a:lnTo>
                      <a:lnTo>
                        <a:pt x="494" y="93"/>
                      </a:lnTo>
                      <a:lnTo>
                        <a:pt x="482" y="93"/>
                      </a:lnTo>
                      <a:lnTo>
                        <a:pt x="471" y="81"/>
                      </a:lnTo>
                      <a:lnTo>
                        <a:pt x="465" y="70"/>
                      </a:lnTo>
                      <a:lnTo>
                        <a:pt x="459" y="58"/>
                      </a:lnTo>
                      <a:lnTo>
                        <a:pt x="459" y="47"/>
                      </a:lnTo>
                      <a:lnTo>
                        <a:pt x="465" y="29"/>
                      </a:lnTo>
                      <a:lnTo>
                        <a:pt x="453" y="12"/>
                      </a:lnTo>
                      <a:lnTo>
                        <a:pt x="453" y="6"/>
                      </a:lnTo>
                      <a:lnTo>
                        <a:pt x="453" y="0"/>
                      </a:lnTo>
                      <a:lnTo>
                        <a:pt x="447" y="0"/>
                      </a:lnTo>
                      <a:lnTo>
                        <a:pt x="442" y="0"/>
                      </a:lnTo>
                      <a:lnTo>
                        <a:pt x="418" y="0"/>
                      </a:lnTo>
                      <a:lnTo>
                        <a:pt x="407" y="0"/>
                      </a:lnTo>
                      <a:lnTo>
                        <a:pt x="378" y="0"/>
                      </a:lnTo>
                      <a:lnTo>
                        <a:pt x="349" y="6"/>
                      </a:lnTo>
                      <a:lnTo>
                        <a:pt x="337" y="6"/>
                      </a:lnTo>
                      <a:lnTo>
                        <a:pt x="302" y="6"/>
                      </a:lnTo>
                      <a:lnTo>
                        <a:pt x="296" y="6"/>
                      </a:lnTo>
                      <a:lnTo>
                        <a:pt x="273" y="6"/>
                      </a:lnTo>
                      <a:lnTo>
                        <a:pt x="267" y="6"/>
                      </a:lnTo>
                      <a:lnTo>
                        <a:pt x="262" y="6"/>
                      </a:lnTo>
                      <a:close/>
                    </a:path>
                  </a:pathLst>
                </a:custGeom>
                <a:solidFill>
                  <a:srgbClr val="70AD47">
                    <a:lumMod val="20000"/>
                    <a:lumOff val="8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44" name="Freeform 43"/>
                <p:cNvSpPr>
                  <a:spLocks/>
                </p:cNvSpPr>
                <p:nvPr/>
              </p:nvSpPr>
              <p:spPr bwMode="auto">
                <a:xfrm>
                  <a:off x="2984500" y="2090178"/>
                  <a:ext cx="1077913" cy="569760"/>
                </a:xfrm>
                <a:custGeom>
                  <a:avLst/>
                  <a:gdLst>
                    <a:gd name="T0" fmla="*/ 679 w 679"/>
                    <a:gd name="T1" fmla="*/ 145 h 359"/>
                    <a:gd name="T2" fmla="*/ 679 w 679"/>
                    <a:gd name="T3" fmla="*/ 174 h 359"/>
                    <a:gd name="T4" fmla="*/ 679 w 679"/>
                    <a:gd name="T5" fmla="*/ 220 h 359"/>
                    <a:gd name="T6" fmla="*/ 679 w 679"/>
                    <a:gd name="T7" fmla="*/ 243 h 359"/>
                    <a:gd name="T8" fmla="*/ 679 w 679"/>
                    <a:gd name="T9" fmla="*/ 284 h 359"/>
                    <a:gd name="T10" fmla="*/ 679 w 679"/>
                    <a:gd name="T11" fmla="*/ 342 h 359"/>
                    <a:gd name="T12" fmla="*/ 679 w 679"/>
                    <a:gd name="T13" fmla="*/ 359 h 359"/>
                    <a:gd name="T14" fmla="*/ 639 w 679"/>
                    <a:gd name="T15" fmla="*/ 359 h 359"/>
                    <a:gd name="T16" fmla="*/ 610 w 679"/>
                    <a:gd name="T17" fmla="*/ 359 h 359"/>
                    <a:gd name="T18" fmla="*/ 581 w 679"/>
                    <a:gd name="T19" fmla="*/ 359 h 359"/>
                    <a:gd name="T20" fmla="*/ 557 w 679"/>
                    <a:gd name="T21" fmla="*/ 359 h 359"/>
                    <a:gd name="T22" fmla="*/ 511 w 679"/>
                    <a:gd name="T23" fmla="*/ 359 h 359"/>
                    <a:gd name="T24" fmla="*/ 482 w 679"/>
                    <a:gd name="T25" fmla="*/ 359 h 359"/>
                    <a:gd name="T26" fmla="*/ 447 w 679"/>
                    <a:gd name="T27" fmla="*/ 359 h 359"/>
                    <a:gd name="T28" fmla="*/ 401 w 679"/>
                    <a:gd name="T29" fmla="*/ 359 h 359"/>
                    <a:gd name="T30" fmla="*/ 366 w 679"/>
                    <a:gd name="T31" fmla="*/ 359 h 359"/>
                    <a:gd name="T32" fmla="*/ 337 w 679"/>
                    <a:gd name="T33" fmla="*/ 359 h 359"/>
                    <a:gd name="T34" fmla="*/ 302 w 679"/>
                    <a:gd name="T35" fmla="*/ 359 h 359"/>
                    <a:gd name="T36" fmla="*/ 250 w 679"/>
                    <a:gd name="T37" fmla="*/ 354 h 359"/>
                    <a:gd name="T38" fmla="*/ 232 w 679"/>
                    <a:gd name="T39" fmla="*/ 354 h 359"/>
                    <a:gd name="T40" fmla="*/ 186 w 679"/>
                    <a:gd name="T41" fmla="*/ 354 h 359"/>
                    <a:gd name="T42" fmla="*/ 134 w 679"/>
                    <a:gd name="T43" fmla="*/ 348 h 359"/>
                    <a:gd name="T44" fmla="*/ 93 w 679"/>
                    <a:gd name="T45" fmla="*/ 348 h 359"/>
                    <a:gd name="T46" fmla="*/ 64 w 679"/>
                    <a:gd name="T47" fmla="*/ 348 h 359"/>
                    <a:gd name="T48" fmla="*/ 24 w 679"/>
                    <a:gd name="T49" fmla="*/ 342 h 359"/>
                    <a:gd name="T50" fmla="*/ 0 w 679"/>
                    <a:gd name="T51" fmla="*/ 313 h 359"/>
                    <a:gd name="T52" fmla="*/ 6 w 679"/>
                    <a:gd name="T53" fmla="*/ 272 h 359"/>
                    <a:gd name="T54" fmla="*/ 6 w 679"/>
                    <a:gd name="T55" fmla="*/ 226 h 359"/>
                    <a:gd name="T56" fmla="*/ 12 w 679"/>
                    <a:gd name="T57" fmla="*/ 185 h 359"/>
                    <a:gd name="T58" fmla="*/ 12 w 679"/>
                    <a:gd name="T59" fmla="*/ 151 h 359"/>
                    <a:gd name="T60" fmla="*/ 18 w 679"/>
                    <a:gd name="T61" fmla="*/ 110 h 359"/>
                    <a:gd name="T62" fmla="*/ 18 w 679"/>
                    <a:gd name="T63" fmla="*/ 69 h 359"/>
                    <a:gd name="T64" fmla="*/ 24 w 679"/>
                    <a:gd name="T65" fmla="*/ 0 h 359"/>
                    <a:gd name="T66" fmla="*/ 105 w 679"/>
                    <a:gd name="T67" fmla="*/ 6 h 359"/>
                    <a:gd name="T68" fmla="*/ 140 w 679"/>
                    <a:gd name="T69" fmla="*/ 6 h 359"/>
                    <a:gd name="T70" fmla="*/ 186 w 679"/>
                    <a:gd name="T71" fmla="*/ 11 h 359"/>
                    <a:gd name="T72" fmla="*/ 238 w 679"/>
                    <a:gd name="T73" fmla="*/ 11 h 359"/>
                    <a:gd name="T74" fmla="*/ 273 w 679"/>
                    <a:gd name="T75" fmla="*/ 11 h 359"/>
                    <a:gd name="T76" fmla="*/ 302 w 679"/>
                    <a:gd name="T77" fmla="*/ 17 h 359"/>
                    <a:gd name="T78" fmla="*/ 331 w 679"/>
                    <a:gd name="T79" fmla="*/ 17 h 359"/>
                    <a:gd name="T80" fmla="*/ 366 w 679"/>
                    <a:gd name="T81" fmla="*/ 17 h 359"/>
                    <a:gd name="T82" fmla="*/ 389 w 679"/>
                    <a:gd name="T83" fmla="*/ 17 h 359"/>
                    <a:gd name="T84" fmla="*/ 430 w 679"/>
                    <a:gd name="T85" fmla="*/ 17 h 359"/>
                    <a:gd name="T86" fmla="*/ 453 w 679"/>
                    <a:gd name="T87" fmla="*/ 17 h 359"/>
                    <a:gd name="T88" fmla="*/ 482 w 679"/>
                    <a:gd name="T89" fmla="*/ 17 h 359"/>
                    <a:gd name="T90" fmla="*/ 523 w 679"/>
                    <a:gd name="T91" fmla="*/ 17 h 359"/>
                    <a:gd name="T92" fmla="*/ 540 w 679"/>
                    <a:gd name="T93" fmla="*/ 17 h 359"/>
                    <a:gd name="T94" fmla="*/ 569 w 679"/>
                    <a:gd name="T95" fmla="*/ 17 h 359"/>
                    <a:gd name="T96" fmla="*/ 627 w 679"/>
                    <a:gd name="T97" fmla="*/ 35 h 359"/>
                    <a:gd name="T98" fmla="*/ 645 w 679"/>
                    <a:gd name="T99" fmla="*/ 35 h 359"/>
                    <a:gd name="T100" fmla="*/ 639 w 679"/>
                    <a:gd name="T101" fmla="*/ 58 h 359"/>
                    <a:gd name="T102" fmla="*/ 639 w 679"/>
                    <a:gd name="T103" fmla="*/ 75 h 359"/>
                    <a:gd name="T104" fmla="*/ 650 w 679"/>
                    <a:gd name="T105" fmla="*/ 93 h 359"/>
                    <a:gd name="T106" fmla="*/ 674 w 679"/>
                    <a:gd name="T107" fmla="*/ 116 h 359"/>
                    <a:gd name="T108" fmla="*/ 674 w 679"/>
                    <a:gd name="T109" fmla="*/ 122 h 359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79"/>
                    <a:gd name="T166" fmla="*/ 0 h 359"/>
                    <a:gd name="T167" fmla="*/ 679 w 679"/>
                    <a:gd name="T168" fmla="*/ 359 h 359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79" h="359">
                      <a:moveTo>
                        <a:pt x="674" y="127"/>
                      </a:moveTo>
                      <a:lnTo>
                        <a:pt x="679" y="133"/>
                      </a:lnTo>
                      <a:lnTo>
                        <a:pt x="679" y="145"/>
                      </a:lnTo>
                      <a:lnTo>
                        <a:pt x="679" y="151"/>
                      </a:lnTo>
                      <a:lnTo>
                        <a:pt x="679" y="162"/>
                      </a:lnTo>
                      <a:lnTo>
                        <a:pt x="679" y="174"/>
                      </a:lnTo>
                      <a:lnTo>
                        <a:pt x="679" y="191"/>
                      </a:lnTo>
                      <a:lnTo>
                        <a:pt x="679" y="203"/>
                      </a:lnTo>
                      <a:lnTo>
                        <a:pt x="679" y="220"/>
                      </a:lnTo>
                      <a:lnTo>
                        <a:pt x="679" y="226"/>
                      </a:lnTo>
                      <a:lnTo>
                        <a:pt x="679" y="238"/>
                      </a:lnTo>
                      <a:lnTo>
                        <a:pt x="679" y="243"/>
                      </a:lnTo>
                      <a:lnTo>
                        <a:pt x="679" y="255"/>
                      </a:lnTo>
                      <a:lnTo>
                        <a:pt x="679" y="272"/>
                      </a:lnTo>
                      <a:lnTo>
                        <a:pt x="679" y="284"/>
                      </a:lnTo>
                      <a:lnTo>
                        <a:pt x="679" y="301"/>
                      </a:lnTo>
                      <a:lnTo>
                        <a:pt x="679" y="319"/>
                      </a:lnTo>
                      <a:lnTo>
                        <a:pt x="679" y="342"/>
                      </a:lnTo>
                      <a:lnTo>
                        <a:pt x="679" y="348"/>
                      </a:lnTo>
                      <a:lnTo>
                        <a:pt x="679" y="354"/>
                      </a:lnTo>
                      <a:lnTo>
                        <a:pt x="679" y="359"/>
                      </a:lnTo>
                      <a:lnTo>
                        <a:pt x="668" y="359"/>
                      </a:lnTo>
                      <a:lnTo>
                        <a:pt x="645" y="359"/>
                      </a:lnTo>
                      <a:lnTo>
                        <a:pt x="639" y="359"/>
                      </a:lnTo>
                      <a:lnTo>
                        <a:pt x="621" y="359"/>
                      </a:lnTo>
                      <a:lnTo>
                        <a:pt x="616" y="359"/>
                      </a:lnTo>
                      <a:lnTo>
                        <a:pt x="610" y="359"/>
                      </a:lnTo>
                      <a:lnTo>
                        <a:pt x="598" y="359"/>
                      </a:lnTo>
                      <a:lnTo>
                        <a:pt x="586" y="359"/>
                      </a:lnTo>
                      <a:lnTo>
                        <a:pt x="581" y="359"/>
                      </a:lnTo>
                      <a:lnTo>
                        <a:pt x="575" y="359"/>
                      </a:lnTo>
                      <a:lnTo>
                        <a:pt x="563" y="359"/>
                      </a:lnTo>
                      <a:lnTo>
                        <a:pt x="557" y="359"/>
                      </a:lnTo>
                      <a:lnTo>
                        <a:pt x="552" y="359"/>
                      </a:lnTo>
                      <a:lnTo>
                        <a:pt x="540" y="359"/>
                      </a:lnTo>
                      <a:lnTo>
                        <a:pt x="511" y="359"/>
                      </a:lnTo>
                      <a:lnTo>
                        <a:pt x="505" y="359"/>
                      </a:lnTo>
                      <a:lnTo>
                        <a:pt x="494" y="359"/>
                      </a:lnTo>
                      <a:lnTo>
                        <a:pt x="482" y="359"/>
                      </a:lnTo>
                      <a:lnTo>
                        <a:pt x="470" y="359"/>
                      </a:lnTo>
                      <a:lnTo>
                        <a:pt x="459" y="359"/>
                      </a:lnTo>
                      <a:lnTo>
                        <a:pt x="447" y="359"/>
                      </a:lnTo>
                      <a:lnTo>
                        <a:pt x="430" y="359"/>
                      </a:lnTo>
                      <a:lnTo>
                        <a:pt x="418" y="359"/>
                      </a:lnTo>
                      <a:lnTo>
                        <a:pt x="401" y="359"/>
                      </a:lnTo>
                      <a:lnTo>
                        <a:pt x="389" y="359"/>
                      </a:lnTo>
                      <a:lnTo>
                        <a:pt x="372" y="359"/>
                      </a:lnTo>
                      <a:lnTo>
                        <a:pt x="366" y="359"/>
                      </a:lnTo>
                      <a:lnTo>
                        <a:pt x="360" y="359"/>
                      </a:lnTo>
                      <a:lnTo>
                        <a:pt x="343" y="359"/>
                      </a:lnTo>
                      <a:lnTo>
                        <a:pt x="337" y="359"/>
                      </a:lnTo>
                      <a:lnTo>
                        <a:pt x="325" y="359"/>
                      </a:lnTo>
                      <a:lnTo>
                        <a:pt x="320" y="359"/>
                      </a:lnTo>
                      <a:lnTo>
                        <a:pt x="302" y="359"/>
                      </a:lnTo>
                      <a:lnTo>
                        <a:pt x="296" y="359"/>
                      </a:lnTo>
                      <a:lnTo>
                        <a:pt x="279" y="354"/>
                      </a:lnTo>
                      <a:lnTo>
                        <a:pt x="250" y="354"/>
                      </a:lnTo>
                      <a:lnTo>
                        <a:pt x="244" y="354"/>
                      </a:lnTo>
                      <a:lnTo>
                        <a:pt x="238" y="354"/>
                      </a:lnTo>
                      <a:lnTo>
                        <a:pt x="232" y="354"/>
                      </a:lnTo>
                      <a:lnTo>
                        <a:pt x="227" y="354"/>
                      </a:lnTo>
                      <a:lnTo>
                        <a:pt x="192" y="354"/>
                      </a:lnTo>
                      <a:lnTo>
                        <a:pt x="186" y="354"/>
                      </a:lnTo>
                      <a:lnTo>
                        <a:pt x="180" y="354"/>
                      </a:lnTo>
                      <a:lnTo>
                        <a:pt x="174" y="354"/>
                      </a:lnTo>
                      <a:lnTo>
                        <a:pt x="134" y="348"/>
                      </a:lnTo>
                      <a:lnTo>
                        <a:pt x="128" y="348"/>
                      </a:lnTo>
                      <a:lnTo>
                        <a:pt x="99" y="348"/>
                      </a:lnTo>
                      <a:lnTo>
                        <a:pt x="93" y="348"/>
                      </a:lnTo>
                      <a:lnTo>
                        <a:pt x="87" y="348"/>
                      </a:lnTo>
                      <a:lnTo>
                        <a:pt x="82" y="348"/>
                      </a:lnTo>
                      <a:lnTo>
                        <a:pt x="64" y="348"/>
                      </a:lnTo>
                      <a:lnTo>
                        <a:pt x="47" y="348"/>
                      </a:lnTo>
                      <a:lnTo>
                        <a:pt x="29" y="342"/>
                      </a:lnTo>
                      <a:lnTo>
                        <a:pt x="24" y="342"/>
                      </a:lnTo>
                      <a:lnTo>
                        <a:pt x="0" y="342"/>
                      </a:lnTo>
                      <a:lnTo>
                        <a:pt x="0" y="325"/>
                      </a:lnTo>
                      <a:lnTo>
                        <a:pt x="0" y="313"/>
                      </a:lnTo>
                      <a:lnTo>
                        <a:pt x="6" y="296"/>
                      </a:lnTo>
                      <a:lnTo>
                        <a:pt x="6" y="284"/>
                      </a:lnTo>
                      <a:lnTo>
                        <a:pt x="6" y="272"/>
                      </a:lnTo>
                      <a:lnTo>
                        <a:pt x="6" y="267"/>
                      </a:lnTo>
                      <a:lnTo>
                        <a:pt x="6" y="255"/>
                      </a:lnTo>
                      <a:lnTo>
                        <a:pt x="6" y="226"/>
                      </a:lnTo>
                      <a:lnTo>
                        <a:pt x="12" y="214"/>
                      </a:lnTo>
                      <a:lnTo>
                        <a:pt x="12" y="197"/>
                      </a:lnTo>
                      <a:lnTo>
                        <a:pt x="12" y="185"/>
                      </a:lnTo>
                      <a:lnTo>
                        <a:pt x="12" y="180"/>
                      </a:lnTo>
                      <a:lnTo>
                        <a:pt x="12" y="156"/>
                      </a:lnTo>
                      <a:lnTo>
                        <a:pt x="12" y="151"/>
                      </a:lnTo>
                      <a:lnTo>
                        <a:pt x="12" y="139"/>
                      </a:lnTo>
                      <a:lnTo>
                        <a:pt x="18" y="116"/>
                      </a:lnTo>
                      <a:lnTo>
                        <a:pt x="18" y="110"/>
                      </a:lnTo>
                      <a:lnTo>
                        <a:pt x="18" y="104"/>
                      </a:lnTo>
                      <a:lnTo>
                        <a:pt x="18" y="98"/>
                      </a:lnTo>
                      <a:lnTo>
                        <a:pt x="18" y="69"/>
                      </a:lnTo>
                      <a:lnTo>
                        <a:pt x="18" y="58"/>
                      </a:lnTo>
                      <a:lnTo>
                        <a:pt x="18" y="52"/>
                      </a:lnTo>
                      <a:lnTo>
                        <a:pt x="24" y="0"/>
                      </a:lnTo>
                      <a:lnTo>
                        <a:pt x="82" y="6"/>
                      </a:lnTo>
                      <a:lnTo>
                        <a:pt x="87" y="6"/>
                      </a:lnTo>
                      <a:lnTo>
                        <a:pt x="105" y="6"/>
                      </a:lnTo>
                      <a:lnTo>
                        <a:pt x="128" y="6"/>
                      </a:lnTo>
                      <a:lnTo>
                        <a:pt x="134" y="6"/>
                      </a:lnTo>
                      <a:lnTo>
                        <a:pt x="140" y="6"/>
                      </a:lnTo>
                      <a:lnTo>
                        <a:pt x="151" y="11"/>
                      </a:lnTo>
                      <a:lnTo>
                        <a:pt x="169" y="11"/>
                      </a:lnTo>
                      <a:lnTo>
                        <a:pt x="186" y="11"/>
                      </a:lnTo>
                      <a:lnTo>
                        <a:pt x="192" y="11"/>
                      </a:lnTo>
                      <a:lnTo>
                        <a:pt x="221" y="11"/>
                      </a:lnTo>
                      <a:lnTo>
                        <a:pt x="238" y="11"/>
                      </a:lnTo>
                      <a:lnTo>
                        <a:pt x="256" y="11"/>
                      </a:lnTo>
                      <a:lnTo>
                        <a:pt x="261" y="11"/>
                      </a:lnTo>
                      <a:lnTo>
                        <a:pt x="273" y="11"/>
                      </a:lnTo>
                      <a:lnTo>
                        <a:pt x="279" y="11"/>
                      </a:lnTo>
                      <a:lnTo>
                        <a:pt x="285" y="17"/>
                      </a:lnTo>
                      <a:lnTo>
                        <a:pt x="302" y="17"/>
                      </a:lnTo>
                      <a:lnTo>
                        <a:pt x="314" y="17"/>
                      </a:lnTo>
                      <a:lnTo>
                        <a:pt x="325" y="17"/>
                      </a:lnTo>
                      <a:lnTo>
                        <a:pt x="331" y="17"/>
                      </a:lnTo>
                      <a:lnTo>
                        <a:pt x="343" y="17"/>
                      </a:lnTo>
                      <a:lnTo>
                        <a:pt x="354" y="17"/>
                      </a:lnTo>
                      <a:lnTo>
                        <a:pt x="366" y="17"/>
                      </a:lnTo>
                      <a:lnTo>
                        <a:pt x="378" y="17"/>
                      </a:lnTo>
                      <a:lnTo>
                        <a:pt x="383" y="17"/>
                      </a:lnTo>
                      <a:lnTo>
                        <a:pt x="389" y="17"/>
                      </a:lnTo>
                      <a:lnTo>
                        <a:pt x="395" y="17"/>
                      </a:lnTo>
                      <a:lnTo>
                        <a:pt x="412" y="17"/>
                      </a:lnTo>
                      <a:lnTo>
                        <a:pt x="430" y="17"/>
                      </a:lnTo>
                      <a:lnTo>
                        <a:pt x="436" y="17"/>
                      </a:lnTo>
                      <a:lnTo>
                        <a:pt x="441" y="17"/>
                      </a:lnTo>
                      <a:lnTo>
                        <a:pt x="453" y="17"/>
                      </a:lnTo>
                      <a:lnTo>
                        <a:pt x="470" y="17"/>
                      </a:lnTo>
                      <a:lnTo>
                        <a:pt x="476" y="17"/>
                      </a:lnTo>
                      <a:lnTo>
                        <a:pt x="482" y="17"/>
                      </a:lnTo>
                      <a:lnTo>
                        <a:pt x="488" y="17"/>
                      </a:lnTo>
                      <a:lnTo>
                        <a:pt x="511" y="17"/>
                      </a:lnTo>
                      <a:lnTo>
                        <a:pt x="523" y="17"/>
                      </a:lnTo>
                      <a:lnTo>
                        <a:pt x="528" y="17"/>
                      </a:lnTo>
                      <a:lnTo>
                        <a:pt x="534" y="17"/>
                      </a:lnTo>
                      <a:lnTo>
                        <a:pt x="540" y="17"/>
                      </a:lnTo>
                      <a:lnTo>
                        <a:pt x="552" y="17"/>
                      </a:lnTo>
                      <a:lnTo>
                        <a:pt x="563" y="17"/>
                      </a:lnTo>
                      <a:lnTo>
                        <a:pt x="569" y="17"/>
                      </a:lnTo>
                      <a:lnTo>
                        <a:pt x="610" y="17"/>
                      </a:lnTo>
                      <a:lnTo>
                        <a:pt x="616" y="17"/>
                      </a:lnTo>
                      <a:lnTo>
                        <a:pt x="627" y="35"/>
                      </a:lnTo>
                      <a:lnTo>
                        <a:pt x="639" y="35"/>
                      </a:lnTo>
                      <a:lnTo>
                        <a:pt x="639" y="29"/>
                      </a:lnTo>
                      <a:lnTo>
                        <a:pt x="645" y="35"/>
                      </a:lnTo>
                      <a:lnTo>
                        <a:pt x="650" y="40"/>
                      </a:lnTo>
                      <a:lnTo>
                        <a:pt x="650" y="52"/>
                      </a:lnTo>
                      <a:lnTo>
                        <a:pt x="639" y="58"/>
                      </a:lnTo>
                      <a:lnTo>
                        <a:pt x="639" y="64"/>
                      </a:lnTo>
                      <a:lnTo>
                        <a:pt x="633" y="69"/>
                      </a:lnTo>
                      <a:lnTo>
                        <a:pt x="639" y="75"/>
                      </a:lnTo>
                      <a:lnTo>
                        <a:pt x="639" y="81"/>
                      </a:lnTo>
                      <a:lnTo>
                        <a:pt x="645" y="87"/>
                      </a:lnTo>
                      <a:lnTo>
                        <a:pt x="650" y="93"/>
                      </a:lnTo>
                      <a:lnTo>
                        <a:pt x="650" y="98"/>
                      </a:lnTo>
                      <a:lnTo>
                        <a:pt x="662" y="110"/>
                      </a:lnTo>
                      <a:lnTo>
                        <a:pt x="674" y="116"/>
                      </a:lnTo>
                      <a:lnTo>
                        <a:pt x="679" y="116"/>
                      </a:lnTo>
                      <a:lnTo>
                        <a:pt x="674" y="116"/>
                      </a:lnTo>
                      <a:lnTo>
                        <a:pt x="674" y="122"/>
                      </a:lnTo>
                      <a:lnTo>
                        <a:pt x="674" y="127"/>
                      </a:lnTo>
                      <a:close/>
                    </a:path>
                  </a:pathLst>
                </a:custGeom>
                <a:solidFill>
                  <a:srgbClr val="70AD47">
                    <a:lumMod val="20000"/>
                    <a:lumOff val="8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45" name="Freeform 44"/>
                <p:cNvSpPr>
                  <a:spLocks/>
                </p:cNvSpPr>
                <p:nvPr/>
              </p:nvSpPr>
              <p:spPr bwMode="auto">
                <a:xfrm>
                  <a:off x="3713163" y="423749"/>
                  <a:ext cx="939800" cy="1068102"/>
                </a:xfrm>
                <a:custGeom>
                  <a:avLst/>
                  <a:gdLst>
                    <a:gd name="T0" fmla="*/ 58 w 592"/>
                    <a:gd name="T1" fmla="*/ 470 h 673"/>
                    <a:gd name="T2" fmla="*/ 46 w 592"/>
                    <a:gd name="T3" fmla="*/ 452 h 673"/>
                    <a:gd name="T4" fmla="*/ 40 w 592"/>
                    <a:gd name="T5" fmla="*/ 412 h 673"/>
                    <a:gd name="T6" fmla="*/ 46 w 592"/>
                    <a:gd name="T7" fmla="*/ 383 h 673"/>
                    <a:gd name="T8" fmla="*/ 35 w 592"/>
                    <a:gd name="T9" fmla="*/ 313 h 673"/>
                    <a:gd name="T10" fmla="*/ 29 w 592"/>
                    <a:gd name="T11" fmla="*/ 272 h 673"/>
                    <a:gd name="T12" fmla="*/ 29 w 592"/>
                    <a:gd name="T13" fmla="*/ 243 h 673"/>
                    <a:gd name="T14" fmla="*/ 29 w 592"/>
                    <a:gd name="T15" fmla="*/ 214 h 673"/>
                    <a:gd name="T16" fmla="*/ 17 w 592"/>
                    <a:gd name="T17" fmla="*/ 168 h 673"/>
                    <a:gd name="T18" fmla="*/ 6 w 592"/>
                    <a:gd name="T19" fmla="*/ 110 h 673"/>
                    <a:gd name="T20" fmla="*/ 0 w 592"/>
                    <a:gd name="T21" fmla="*/ 40 h 673"/>
                    <a:gd name="T22" fmla="*/ 157 w 592"/>
                    <a:gd name="T23" fmla="*/ 40 h 673"/>
                    <a:gd name="T24" fmla="*/ 186 w 592"/>
                    <a:gd name="T25" fmla="*/ 6 h 673"/>
                    <a:gd name="T26" fmla="*/ 215 w 592"/>
                    <a:gd name="T27" fmla="*/ 75 h 673"/>
                    <a:gd name="T28" fmla="*/ 261 w 592"/>
                    <a:gd name="T29" fmla="*/ 81 h 673"/>
                    <a:gd name="T30" fmla="*/ 290 w 592"/>
                    <a:gd name="T31" fmla="*/ 87 h 673"/>
                    <a:gd name="T32" fmla="*/ 313 w 592"/>
                    <a:gd name="T33" fmla="*/ 81 h 673"/>
                    <a:gd name="T34" fmla="*/ 348 w 592"/>
                    <a:gd name="T35" fmla="*/ 87 h 673"/>
                    <a:gd name="T36" fmla="*/ 371 w 592"/>
                    <a:gd name="T37" fmla="*/ 127 h 673"/>
                    <a:gd name="T38" fmla="*/ 394 w 592"/>
                    <a:gd name="T39" fmla="*/ 110 h 673"/>
                    <a:gd name="T40" fmla="*/ 418 w 592"/>
                    <a:gd name="T41" fmla="*/ 127 h 673"/>
                    <a:gd name="T42" fmla="*/ 476 w 592"/>
                    <a:gd name="T43" fmla="*/ 122 h 673"/>
                    <a:gd name="T44" fmla="*/ 505 w 592"/>
                    <a:gd name="T45" fmla="*/ 133 h 673"/>
                    <a:gd name="T46" fmla="*/ 563 w 592"/>
                    <a:gd name="T47" fmla="*/ 139 h 673"/>
                    <a:gd name="T48" fmla="*/ 557 w 592"/>
                    <a:gd name="T49" fmla="*/ 162 h 673"/>
                    <a:gd name="T50" fmla="*/ 482 w 592"/>
                    <a:gd name="T51" fmla="*/ 209 h 673"/>
                    <a:gd name="T52" fmla="*/ 423 w 592"/>
                    <a:gd name="T53" fmla="*/ 272 h 673"/>
                    <a:gd name="T54" fmla="*/ 406 w 592"/>
                    <a:gd name="T55" fmla="*/ 296 h 673"/>
                    <a:gd name="T56" fmla="*/ 389 w 592"/>
                    <a:gd name="T57" fmla="*/ 301 h 673"/>
                    <a:gd name="T58" fmla="*/ 389 w 592"/>
                    <a:gd name="T59" fmla="*/ 330 h 673"/>
                    <a:gd name="T60" fmla="*/ 354 w 592"/>
                    <a:gd name="T61" fmla="*/ 400 h 673"/>
                    <a:gd name="T62" fmla="*/ 354 w 592"/>
                    <a:gd name="T63" fmla="*/ 429 h 673"/>
                    <a:gd name="T64" fmla="*/ 354 w 592"/>
                    <a:gd name="T65" fmla="*/ 470 h 673"/>
                    <a:gd name="T66" fmla="*/ 354 w 592"/>
                    <a:gd name="T67" fmla="*/ 510 h 673"/>
                    <a:gd name="T68" fmla="*/ 377 w 592"/>
                    <a:gd name="T69" fmla="*/ 545 h 673"/>
                    <a:gd name="T70" fmla="*/ 400 w 592"/>
                    <a:gd name="T71" fmla="*/ 557 h 673"/>
                    <a:gd name="T72" fmla="*/ 423 w 592"/>
                    <a:gd name="T73" fmla="*/ 563 h 673"/>
                    <a:gd name="T74" fmla="*/ 447 w 592"/>
                    <a:gd name="T75" fmla="*/ 592 h 673"/>
                    <a:gd name="T76" fmla="*/ 464 w 592"/>
                    <a:gd name="T77" fmla="*/ 603 h 673"/>
                    <a:gd name="T78" fmla="*/ 482 w 592"/>
                    <a:gd name="T79" fmla="*/ 621 h 673"/>
                    <a:gd name="T80" fmla="*/ 487 w 592"/>
                    <a:gd name="T81" fmla="*/ 650 h 673"/>
                    <a:gd name="T82" fmla="*/ 482 w 592"/>
                    <a:gd name="T83" fmla="*/ 661 h 673"/>
                    <a:gd name="T84" fmla="*/ 418 w 592"/>
                    <a:gd name="T85" fmla="*/ 661 h 673"/>
                    <a:gd name="T86" fmla="*/ 342 w 592"/>
                    <a:gd name="T87" fmla="*/ 667 h 673"/>
                    <a:gd name="T88" fmla="*/ 307 w 592"/>
                    <a:gd name="T89" fmla="*/ 667 h 673"/>
                    <a:gd name="T90" fmla="*/ 273 w 592"/>
                    <a:gd name="T91" fmla="*/ 667 h 673"/>
                    <a:gd name="T92" fmla="*/ 226 w 592"/>
                    <a:gd name="T93" fmla="*/ 667 h 673"/>
                    <a:gd name="T94" fmla="*/ 197 w 592"/>
                    <a:gd name="T95" fmla="*/ 673 h 673"/>
                    <a:gd name="T96" fmla="*/ 168 w 592"/>
                    <a:gd name="T97" fmla="*/ 673 h 673"/>
                    <a:gd name="T98" fmla="*/ 139 w 592"/>
                    <a:gd name="T99" fmla="*/ 673 h 673"/>
                    <a:gd name="T100" fmla="*/ 98 w 592"/>
                    <a:gd name="T101" fmla="*/ 673 h 673"/>
                    <a:gd name="T102" fmla="*/ 75 w 592"/>
                    <a:gd name="T103" fmla="*/ 673 h 673"/>
                    <a:gd name="T104" fmla="*/ 58 w 592"/>
                    <a:gd name="T105" fmla="*/ 655 h 673"/>
                    <a:gd name="T106" fmla="*/ 58 w 592"/>
                    <a:gd name="T107" fmla="*/ 615 h 673"/>
                    <a:gd name="T108" fmla="*/ 58 w 592"/>
                    <a:gd name="T109" fmla="*/ 551 h 673"/>
                    <a:gd name="T110" fmla="*/ 58 w 592"/>
                    <a:gd name="T111" fmla="*/ 522 h 673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592"/>
                    <a:gd name="T169" fmla="*/ 0 h 673"/>
                    <a:gd name="T170" fmla="*/ 592 w 592"/>
                    <a:gd name="T171" fmla="*/ 673 h 673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592" h="673">
                      <a:moveTo>
                        <a:pt x="58" y="522"/>
                      </a:moveTo>
                      <a:lnTo>
                        <a:pt x="58" y="505"/>
                      </a:lnTo>
                      <a:lnTo>
                        <a:pt x="58" y="470"/>
                      </a:lnTo>
                      <a:lnTo>
                        <a:pt x="58" y="464"/>
                      </a:lnTo>
                      <a:lnTo>
                        <a:pt x="52" y="458"/>
                      </a:lnTo>
                      <a:lnTo>
                        <a:pt x="46" y="452"/>
                      </a:lnTo>
                      <a:lnTo>
                        <a:pt x="29" y="435"/>
                      </a:lnTo>
                      <a:lnTo>
                        <a:pt x="23" y="429"/>
                      </a:lnTo>
                      <a:lnTo>
                        <a:pt x="40" y="412"/>
                      </a:lnTo>
                      <a:lnTo>
                        <a:pt x="46" y="394"/>
                      </a:lnTo>
                      <a:lnTo>
                        <a:pt x="46" y="389"/>
                      </a:lnTo>
                      <a:lnTo>
                        <a:pt x="46" y="383"/>
                      </a:lnTo>
                      <a:lnTo>
                        <a:pt x="46" y="348"/>
                      </a:lnTo>
                      <a:lnTo>
                        <a:pt x="35" y="330"/>
                      </a:lnTo>
                      <a:lnTo>
                        <a:pt x="35" y="313"/>
                      </a:lnTo>
                      <a:lnTo>
                        <a:pt x="29" y="313"/>
                      </a:lnTo>
                      <a:lnTo>
                        <a:pt x="35" y="284"/>
                      </a:lnTo>
                      <a:lnTo>
                        <a:pt x="29" y="272"/>
                      </a:lnTo>
                      <a:lnTo>
                        <a:pt x="29" y="255"/>
                      </a:lnTo>
                      <a:lnTo>
                        <a:pt x="29" y="249"/>
                      </a:lnTo>
                      <a:lnTo>
                        <a:pt x="29" y="243"/>
                      </a:lnTo>
                      <a:lnTo>
                        <a:pt x="29" y="232"/>
                      </a:lnTo>
                      <a:lnTo>
                        <a:pt x="29" y="226"/>
                      </a:lnTo>
                      <a:lnTo>
                        <a:pt x="29" y="214"/>
                      </a:lnTo>
                      <a:lnTo>
                        <a:pt x="29" y="203"/>
                      </a:lnTo>
                      <a:lnTo>
                        <a:pt x="23" y="191"/>
                      </a:lnTo>
                      <a:lnTo>
                        <a:pt x="17" y="168"/>
                      </a:lnTo>
                      <a:lnTo>
                        <a:pt x="6" y="139"/>
                      </a:lnTo>
                      <a:lnTo>
                        <a:pt x="6" y="133"/>
                      </a:lnTo>
                      <a:lnTo>
                        <a:pt x="6" y="110"/>
                      </a:lnTo>
                      <a:lnTo>
                        <a:pt x="6" y="93"/>
                      </a:lnTo>
                      <a:lnTo>
                        <a:pt x="6" y="58"/>
                      </a:lnTo>
                      <a:lnTo>
                        <a:pt x="0" y="40"/>
                      </a:lnTo>
                      <a:lnTo>
                        <a:pt x="64" y="40"/>
                      </a:lnTo>
                      <a:lnTo>
                        <a:pt x="145" y="40"/>
                      </a:lnTo>
                      <a:lnTo>
                        <a:pt x="157" y="40"/>
                      </a:lnTo>
                      <a:lnTo>
                        <a:pt x="157" y="0"/>
                      </a:lnTo>
                      <a:lnTo>
                        <a:pt x="174" y="0"/>
                      </a:lnTo>
                      <a:lnTo>
                        <a:pt x="186" y="6"/>
                      </a:lnTo>
                      <a:lnTo>
                        <a:pt x="191" y="64"/>
                      </a:lnTo>
                      <a:lnTo>
                        <a:pt x="203" y="75"/>
                      </a:lnTo>
                      <a:lnTo>
                        <a:pt x="215" y="75"/>
                      </a:lnTo>
                      <a:lnTo>
                        <a:pt x="226" y="75"/>
                      </a:lnTo>
                      <a:lnTo>
                        <a:pt x="226" y="81"/>
                      </a:lnTo>
                      <a:lnTo>
                        <a:pt x="261" y="81"/>
                      </a:lnTo>
                      <a:lnTo>
                        <a:pt x="261" y="93"/>
                      </a:lnTo>
                      <a:lnTo>
                        <a:pt x="278" y="93"/>
                      </a:lnTo>
                      <a:lnTo>
                        <a:pt x="290" y="87"/>
                      </a:lnTo>
                      <a:lnTo>
                        <a:pt x="284" y="87"/>
                      </a:lnTo>
                      <a:lnTo>
                        <a:pt x="307" y="81"/>
                      </a:lnTo>
                      <a:lnTo>
                        <a:pt x="313" y="81"/>
                      </a:lnTo>
                      <a:lnTo>
                        <a:pt x="325" y="81"/>
                      </a:lnTo>
                      <a:lnTo>
                        <a:pt x="342" y="93"/>
                      </a:lnTo>
                      <a:lnTo>
                        <a:pt x="348" y="87"/>
                      </a:lnTo>
                      <a:lnTo>
                        <a:pt x="354" y="104"/>
                      </a:lnTo>
                      <a:lnTo>
                        <a:pt x="360" y="98"/>
                      </a:lnTo>
                      <a:lnTo>
                        <a:pt x="371" y="127"/>
                      </a:lnTo>
                      <a:lnTo>
                        <a:pt x="377" y="122"/>
                      </a:lnTo>
                      <a:lnTo>
                        <a:pt x="377" y="110"/>
                      </a:lnTo>
                      <a:lnTo>
                        <a:pt x="394" y="110"/>
                      </a:lnTo>
                      <a:lnTo>
                        <a:pt x="400" y="116"/>
                      </a:lnTo>
                      <a:lnTo>
                        <a:pt x="400" y="122"/>
                      </a:lnTo>
                      <a:lnTo>
                        <a:pt x="418" y="127"/>
                      </a:lnTo>
                      <a:lnTo>
                        <a:pt x="441" y="139"/>
                      </a:lnTo>
                      <a:lnTo>
                        <a:pt x="458" y="139"/>
                      </a:lnTo>
                      <a:lnTo>
                        <a:pt x="476" y="122"/>
                      </a:lnTo>
                      <a:lnTo>
                        <a:pt x="487" y="116"/>
                      </a:lnTo>
                      <a:lnTo>
                        <a:pt x="499" y="133"/>
                      </a:lnTo>
                      <a:lnTo>
                        <a:pt x="505" y="133"/>
                      </a:lnTo>
                      <a:lnTo>
                        <a:pt x="528" y="133"/>
                      </a:lnTo>
                      <a:lnTo>
                        <a:pt x="545" y="127"/>
                      </a:lnTo>
                      <a:lnTo>
                        <a:pt x="563" y="139"/>
                      </a:lnTo>
                      <a:lnTo>
                        <a:pt x="574" y="139"/>
                      </a:lnTo>
                      <a:lnTo>
                        <a:pt x="592" y="139"/>
                      </a:lnTo>
                      <a:lnTo>
                        <a:pt x="557" y="162"/>
                      </a:lnTo>
                      <a:lnTo>
                        <a:pt x="522" y="174"/>
                      </a:lnTo>
                      <a:lnTo>
                        <a:pt x="499" y="191"/>
                      </a:lnTo>
                      <a:lnTo>
                        <a:pt x="482" y="209"/>
                      </a:lnTo>
                      <a:lnTo>
                        <a:pt x="464" y="226"/>
                      </a:lnTo>
                      <a:lnTo>
                        <a:pt x="452" y="238"/>
                      </a:lnTo>
                      <a:lnTo>
                        <a:pt x="423" y="272"/>
                      </a:lnTo>
                      <a:lnTo>
                        <a:pt x="406" y="284"/>
                      </a:lnTo>
                      <a:lnTo>
                        <a:pt x="400" y="296"/>
                      </a:lnTo>
                      <a:lnTo>
                        <a:pt x="406" y="296"/>
                      </a:lnTo>
                      <a:lnTo>
                        <a:pt x="400" y="296"/>
                      </a:lnTo>
                      <a:lnTo>
                        <a:pt x="389" y="307"/>
                      </a:lnTo>
                      <a:lnTo>
                        <a:pt x="389" y="301"/>
                      </a:lnTo>
                      <a:lnTo>
                        <a:pt x="389" y="307"/>
                      </a:lnTo>
                      <a:lnTo>
                        <a:pt x="389" y="325"/>
                      </a:lnTo>
                      <a:lnTo>
                        <a:pt x="389" y="330"/>
                      </a:lnTo>
                      <a:lnTo>
                        <a:pt x="389" y="359"/>
                      </a:lnTo>
                      <a:lnTo>
                        <a:pt x="389" y="371"/>
                      </a:lnTo>
                      <a:lnTo>
                        <a:pt x="354" y="400"/>
                      </a:lnTo>
                      <a:lnTo>
                        <a:pt x="348" y="412"/>
                      </a:lnTo>
                      <a:lnTo>
                        <a:pt x="342" y="423"/>
                      </a:lnTo>
                      <a:lnTo>
                        <a:pt x="354" y="429"/>
                      </a:lnTo>
                      <a:lnTo>
                        <a:pt x="360" y="441"/>
                      </a:lnTo>
                      <a:lnTo>
                        <a:pt x="354" y="464"/>
                      </a:lnTo>
                      <a:lnTo>
                        <a:pt x="354" y="470"/>
                      </a:lnTo>
                      <a:lnTo>
                        <a:pt x="360" y="481"/>
                      </a:lnTo>
                      <a:lnTo>
                        <a:pt x="354" y="493"/>
                      </a:lnTo>
                      <a:lnTo>
                        <a:pt x="354" y="510"/>
                      </a:lnTo>
                      <a:lnTo>
                        <a:pt x="354" y="522"/>
                      </a:lnTo>
                      <a:lnTo>
                        <a:pt x="360" y="528"/>
                      </a:lnTo>
                      <a:lnTo>
                        <a:pt x="377" y="545"/>
                      </a:lnTo>
                      <a:lnTo>
                        <a:pt x="394" y="545"/>
                      </a:lnTo>
                      <a:lnTo>
                        <a:pt x="394" y="551"/>
                      </a:lnTo>
                      <a:lnTo>
                        <a:pt x="400" y="557"/>
                      </a:lnTo>
                      <a:lnTo>
                        <a:pt x="412" y="557"/>
                      </a:lnTo>
                      <a:lnTo>
                        <a:pt x="412" y="563"/>
                      </a:lnTo>
                      <a:lnTo>
                        <a:pt x="423" y="563"/>
                      </a:lnTo>
                      <a:lnTo>
                        <a:pt x="429" y="580"/>
                      </a:lnTo>
                      <a:lnTo>
                        <a:pt x="435" y="586"/>
                      </a:lnTo>
                      <a:lnTo>
                        <a:pt x="447" y="592"/>
                      </a:lnTo>
                      <a:lnTo>
                        <a:pt x="452" y="597"/>
                      </a:lnTo>
                      <a:lnTo>
                        <a:pt x="458" y="603"/>
                      </a:lnTo>
                      <a:lnTo>
                        <a:pt x="464" y="603"/>
                      </a:lnTo>
                      <a:lnTo>
                        <a:pt x="470" y="603"/>
                      </a:lnTo>
                      <a:lnTo>
                        <a:pt x="476" y="609"/>
                      </a:lnTo>
                      <a:lnTo>
                        <a:pt x="482" y="621"/>
                      </a:lnTo>
                      <a:lnTo>
                        <a:pt x="487" y="626"/>
                      </a:lnTo>
                      <a:lnTo>
                        <a:pt x="487" y="632"/>
                      </a:lnTo>
                      <a:lnTo>
                        <a:pt x="487" y="650"/>
                      </a:lnTo>
                      <a:lnTo>
                        <a:pt x="493" y="661"/>
                      </a:lnTo>
                      <a:lnTo>
                        <a:pt x="487" y="661"/>
                      </a:lnTo>
                      <a:lnTo>
                        <a:pt x="482" y="661"/>
                      </a:lnTo>
                      <a:lnTo>
                        <a:pt x="458" y="661"/>
                      </a:lnTo>
                      <a:lnTo>
                        <a:pt x="447" y="661"/>
                      </a:lnTo>
                      <a:lnTo>
                        <a:pt x="418" y="661"/>
                      </a:lnTo>
                      <a:lnTo>
                        <a:pt x="389" y="667"/>
                      </a:lnTo>
                      <a:lnTo>
                        <a:pt x="377" y="667"/>
                      </a:lnTo>
                      <a:lnTo>
                        <a:pt x="342" y="667"/>
                      </a:lnTo>
                      <a:lnTo>
                        <a:pt x="336" y="667"/>
                      </a:lnTo>
                      <a:lnTo>
                        <a:pt x="313" y="667"/>
                      </a:lnTo>
                      <a:lnTo>
                        <a:pt x="307" y="667"/>
                      </a:lnTo>
                      <a:lnTo>
                        <a:pt x="302" y="667"/>
                      </a:lnTo>
                      <a:lnTo>
                        <a:pt x="290" y="667"/>
                      </a:lnTo>
                      <a:lnTo>
                        <a:pt x="273" y="667"/>
                      </a:lnTo>
                      <a:lnTo>
                        <a:pt x="261" y="667"/>
                      </a:lnTo>
                      <a:lnTo>
                        <a:pt x="238" y="667"/>
                      </a:lnTo>
                      <a:lnTo>
                        <a:pt x="226" y="667"/>
                      </a:lnTo>
                      <a:lnTo>
                        <a:pt x="220" y="673"/>
                      </a:lnTo>
                      <a:lnTo>
                        <a:pt x="203" y="673"/>
                      </a:lnTo>
                      <a:lnTo>
                        <a:pt x="197" y="673"/>
                      </a:lnTo>
                      <a:lnTo>
                        <a:pt x="191" y="673"/>
                      </a:lnTo>
                      <a:lnTo>
                        <a:pt x="186" y="673"/>
                      </a:lnTo>
                      <a:lnTo>
                        <a:pt x="168" y="673"/>
                      </a:lnTo>
                      <a:lnTo>
                        <a:pt x="157" y="673"/>
                      </a:lnTo>
                      <a:lnTo>
                        <a:pt x="145" y="673"/>
                      </a:lnTo>
                      <a:lnTo>
                        <a:pt x="139" y="673"/>
                      </a:lnTo>
                      <a:lnTo>
                        <a:pt x="116" y="673"/>
                      </a:lnTo>
                      <a:lnTo>
                        <a:pt x="104" y="673"/>
                      </a:lnTo>
                      <a:lnTo>
                        <a:pt x="98" y="673"/>
                      </a:lnTo>
                      <a:lnTo>
                        <a:pt x="93" y="673"/>
                      </a:lnTo>
                      <a:lnTo>
                        <a:pt x="87" y="673"/>
                      </a:lnTo>
                      <a:lnTo>
                        <a:pt x="75" y="673"/>
                      </a:lnTo>
                      <a:lnTo>
                        <a:pt x="64" y="673"/>
                      </a:lnTo>
                      <a:lnTo>
                        <a:pt x="58" y="673"/>
                      </a:lnTo>
                      <a:lnTo>
                        <a:pt x="58" y="655"/>
                      </a:lnTo>
                      <a:lnTo>
                        <a:pt x="58" y="644"/>
                      </a:lnTo>
                      <a:lnTo>
                        <a:pt x="58" y="632"/>
                      </a:lnTo>
                      <a:lnTo>
                        <a:pt x="58" y="615"/>
                      </a:lnTo>
                      <a:lnTo>
                        <a:pt x="58" y="597"/>
                      </a:lnTo>
                      <a:lnTo>
                        <a:pt x="58" y="592"/>
                      </a:lnTo>
                      <a:lnTo>
                        <a:pt x="58" y="551"/>
                      </a:lnTo>
                      <a:lnTo>
                        <a:pt x="58" y="545"/>
                      </a:lnTo>
                      <a:lnTo>
                        <a:pt x="58" y="539"/>
                      </a:lnTo>
                      <a:lnTo>
                        <a:pt x="58" y="522"/>
                      </a:lnTo>
                      <a:close/>
                    </a:path>
                  </a:pathLst>
                </a:custGeom>
                <a:solidFill>
                  <a:srgbClr val="70AD47">
                    <a:lumMod val="20000"/>
                    <a:lumOff val="8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46" name="Freeform 45"/>
                <p:cNvSpPr>
                  <a:spLocks/>
                </p:cNvSpPr>
                <p:nvPr/>
              </p:nvSpPr>
              <p:spPr bwMode="auto">
                <a:xfrm>
                  <a:off x="3897313" y="1998128"/>
                  <a:ext cx="966788" cy="818931"/>
                </a:xfrm>
                <a:custGeom>
                  <a:avLst/>
                  <a:gdLst>
                    <a:gd name="T0" fmla="*/ 174 w 609"/>
                    <a:gd name="T1" fmla="*/ 11 h 516"/>
                    <a:gd name="T2" fmla="*/ 215 w 609"/>
                    <a:gd name="T3" fmla="*/ 6 h 516"/>
                    <a:gd name="T4" fmla="*/ 267 w 609"/>
                    <a:gd name="T5" fmla="*/ 6 h 516"/>
                    <a:gd name="T6" fmla="*/ 307 w 609"/>
                    <a:gd name="T7" fmla="*/ 0 h 516"/>
                    <a:gd name="T8" fmla="*/ 348 w 609"/>
                    <a:gd name="T9" fmla="*/ 0 h 516"/>
                    <a:gd name="T10" fmla="*/ 371 w 609"/>
                    <a:gd name="T11" fmla="*/ 40 h 516"/>
                    <a:gd name="T12" fmla="*/ 377 w 609"/>
                    <a:gd name="T13" fmla="*/ 75 h 516"/>
                    <a:gd name="T14" fmla="*/ 389 w 609"/>
                    <a:gd name="T15" fmla="*/ 104 h 516"/>
                    <a:gd name="T16" fmla="*/ 418 w 609"/>
                    <a:gd name="T17" fmla="*/ 127 h 516"/>
                    <a:gd name="T18" fmla="*/ 447 w 609"/>
                    <a:gd name="T19" fmla="*/ 151 h 516"/>
                    <a:gd name="T20" fmla="*/ 458 w 609"/>
                    <a:gd name="T21" fmla="*/ 191 h 516"/>
                    <a:gd name="T22" fmla="*/ 482 w 609"/>
                    <a:gd name="T23" fmla="*/ 180 h 516"/>
                    <a:gd name="T24" fmla="*/ 499 w 609"/>
                    <a:gd name="T25" fmla="*/ 203 h 516"/>
                    <a:gd name="T26" fmla="*/ 487 w 609"/>
                    <a:gd name="T27" fmla="*/ 232 h 516"/>
                    <a:gd name="T28" fmla="*/ 499 w 609"/>
                    <a:gd name="T29" fmla="*/ 278 h 516"/>
                    <a:gd name="T30" fmla="*/ 528 w 609"/>
                    <a:gd name="T31" fmla="*/ 301 h 516"/>
                    <a:gd name="T32" fmla="*/ 569 w 609"/>
                    <a:gd name="T33" fmla="*/ 325 h 516"/>
                    <a:gd name="T34" fmla="*/ 569 w 609"/>
                    <a:gd name="T35" fmla="*/ 359 h 516"/>
                    <a:gd name="T36" fmla="*/ 586 w 609"/>
                    <a:gd name="T37" fmla="*/ 394 h 516"/>
                    <a:gd name="T38" fmla="*/ 609 w 609"/>
                    <a:gd name="T39" fmla="*/ 400 h 516"/>
                    <a:gd name="T40" fmla="*/ 603 w 609"/>
                    <a:gd name="T41" fmla="*/ 423 h 516"/>
                    <a:gd name="T42" fmla="*/ 586 w 609"/>
                    <a:gd name="T43" fmla="*/ 441 h 516"/>
                    <a:gd name="T44" fmla="*/ 574 w 609"/>
                    <a:gd name="T45" fmla="*/ 452 h 516"/>
                    <a:gd name="T46" fmla="*/ 569 w 609"/>
                    <a:gd name="T47" fmla="*/ 493 h 516"/>
                    <a:gd name="T48" fmla="*/ 516 w 609"/>
                    <a:gd name="T49" fmla="*/ 516 h 516"/>
                    <a:gd name="T50" fmla="*/ 505 w 609"/>
                    <a:gd name="T51" fmla="*/ 504 h 516"/>
                    <a:gd name="T52" fmla="*/ 516 w 609"/>
                    <a:gd name="T53" fmla="*/ 458 h 516"/>
                    <a:gd name="T54" fmla="*/ 464 w 609"/>
                    <a:gd name="T55" fmla="*/ 464 h 516"/>
                    <a:gd name="T56" fmla="*/ 429 w 609"/>
                    <a:gd name="T57" fmla="*/ 464 h 516"/>
                    <a:gd name="T58" fmla="*/ 389 w 609"/>
                    <a:gd name="T59" fmla="*/ 464 h 516"/>
                    <a:gd name="T60" fmla="*/ 336 w 609"/>
                    <a:gd name="T61" fmla="*/ 470 h 516"/>
                    <a:gd name="T62" fmla="*/ 296 w 609"/>
                    <a:gd name="T63" fmla="*/ 470 h 516"/>
                    <a:gd name="T64" fmla="*/ 249 w 609"/>
                    <a:gd name="T65" fmla="*/ 470 h 516"/>
                    <a:gd name="T66" fmla="*/ 215 w 609"/>
                    <a:gd name="T67" fmla="*/ 470 h 516"/>
                    <a:gd name="T68" fmla="*/ 174 w 609"/>
                    <a:gd name="T69" fmla="*/ 475 h 516"/>
                    <a:gd name="T70" fmla="*/ 128 w 609"/>
                    <a:gd name="T71" fmla="*/ 475 h 516"/>
                    <a:gd name="T72" fmla="*/ 104 w 609"/>
                    <a:gd name="T73" fmla="*/ 458 h 516"/>
                    <a:gd name="T74" fmla="*/ 104 w 609"/>
                    <a:gd name="T75" fmla="*/ 423 h 516"/>
                    <a:gd name="T76" fmla="*/ 104 w 609"/>
                    <a:gd name="T77" fmla="*/ 400 h 516"/>
                    <a:gd name="T78" fmla="*/ 104 w 609"/>
                    <a:gd name="T79" fmla="*/ 330 h 516"/>
                    <a:gd name="T80" fmla="*/ 104 w 609"/>
                    <a:gd name="T81" fmla="*/ 284 h 516"/>
                    <a:gd name="T82" fmla="*/ 104 w 609"/>
                    <a:gd name="T83" fmla="*/ 232 h 516"/>
                    <a:gd name="T84" fmla="*/ 104 w 609"/>
                    <a:gd name="T85" fmla="*/ 191 h 516"/>
                    <a:gd name="T86" fmla="*/ 104 w 609"/>
                    <a:gd name="T87" fmla="*/ 174 h 516"/>
                    <a:gd name="T88" fmla="*/ 75 w 609"/>
                    <a:gd name="T89" fmla="*/ 151 h 516"/>
                    <a:gd name="T90" fmla="*/ 58 w 609"/>
                    <a:gd name="T91" fmla="*/ 127 h 516"/>
                    <a:gd name="T92" fmla="*/ 75 w 609"/>
                    <a:gd name="T93" fmla="*/ 98 h 516"/>
                    <a:gd name="T94" fmla="*/ 52 w 609"/>
                    <a:gd name="T95" fmla="*/ 93 h 516"/>
                    <a:gd name="T96" fmla="*/ 17 w 609"/>
                    <a:gd name="T97" fmla="*/ 46 h 516"/>
                    <a:gd name="T98" fmla="*/ 0 w 609"/>
                    <a:gd name="T99" fmla="*/ 17 h 516"/>
                    <a:gd name="T100" fmla="*/ 41 w 609"/>
                    <a:gd name="T101" fmla="*/ 11 h 516"/>
                    <a:gd name="T102" fmla="*/ 87 w 609"/>
                    <a:gd name="T103" fmla="*/ 11 h 516"/>
                    <a:gd name="T104" fmla="*/ 133 w 609"/>
                    <a:gd name="T105" fmla="*/ 11 h 51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609"/>
                    <a:gd name="T160" fmla="*/ 0 h 516"/>
                    <a:gd name="T161" fmla="*/ 609 w 609"/>
                    <a:gd name="T162" fmla="*/ 516 h 51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609" h="516">
                      <a:moveTo>
                        <a:pt x="133" y="11"/>
                      </a:moveTo>
                      <a:lnTo>
                        <a:pt x="151" y="11"/>
                      </a:lnTo>
                      <a:lnTo>
                        <a:pt x="168" y="11"/>
                      </a:lnTo>
                      <a:lnTo>
                        <a:pt x="174" y="11"/>
                      </a:lnTo>
                      <a:lnTo>
                        <a:pt x="191" y="6"/>
                      </a:lnTo>
                      <a:lnTo>
                        <a:pt x="197" y="6"/>
                      </a:lnTo>
                      <a:lnTo>
                        <a:pt x="203" y="6"/>
                      </a:lnTo>
                      <a:lnTo>
                        <a:pt x="215" y="6"/>
                      </a:lnTo>
                      <a:lnTo>
                        <a:pt x="232" y="6"/>
                      </a:lnTo>
                      <a:lnTo>
                        <a:pt x="238" y="6"/>
                      </a:lnTo>
                      <a:lnTo>
                        <a:pt x="261" y="6"/>
                      </a:lnTo>
                      <a:lnTo>
                        <a:pt x="267" y="6"/>
                      </a:lnTo>
                      <a:lnTo>
                        <a:pt x="278" y="6"/>
                      </a:lnTo>
                      <a:lnTo>
                        <a:pt x="296" y="6"/>
                      </a:lnTo>
                      <a:lnTo>
                        <a:pt x="302" y="0"/>
                      </a:lnTo>
                      <a:lnTo>
                        <a:pt x="307" y="0"/>
                      </a:lnTo>
                      <a:lnTo>
                        <a:pt x="319" y="0"/>
                      </a:lnTo>
                      <a:lnTo>
                        <a:pt x="325" y="0"/>
                      </a:lnTo>
                      <a:lnTo>
                        <a:pt x="331" y="0"/>
                      </a:lnTo>
                      <a:lnTo>
                        <a:pt x="348" y="0"/>
                      </a:lnTo>
                      <a:lnTo>
                        <a:pt x="360" y="6"/>
                      </a:lnTo>
                      <a:lnTo>
                        <a:pt x="371" y="23"/>
                      </a:lnTo>
                      <a:lnTo>
                        <a:pt x="377" y="23"/>
                      </a:lnTo>
                      <a:lnTo>
                        <a:pt x="371" y="40"/>
                      </a:lnTo>
                      <a:lnTo>
                        <a:pt x="371" y="46"/>
                      </a:lnTo>
                      <a:lnTo>
                        <a:pt x="371" y="52"/>
                      </a:lnTo>
                      <a:lnTo>
                        <a:pt x="371" y="69"/>
                      </a:lnTo>
                      <a:lnTo>
                        <a:pt x="377" y="75"/>
                      </a:lnTo>
                      <a:lnTo>
                        <a:pt x="377" y="81"/>
                      </a:lnTo>
                      <a:lnTo>
                        <a:pt x="383" y="87"/>
                      </a:lnTo>
                      <a:lnTo>
                        <a:pt x="383" y="93"/>
                      </a:lnTo>
                      <a:lnTo>
                        <a:pt x="389" y="104"/>
                      </a:lnTo>
                      <a:lnTo>
                        <a:pt x="395" y="104"/>
                      </a:lnTo>
                      <a:lnTo>
                        <a:pt x="400" y="110"/>
                      </a:lnTo>
                      <a:lnTo>
                        <a:pt x="406" y="116"/>
                      </a:lnTo>
                      <a:lnTo>
                        <a:pt x="418" y="127"/>
                      </a:lnTo>
                      <a:lnTo>
                        <a:pt x="424" y="133"/>
                      </a:lnTo>
                      <a:lnTo>
                        <a:pt x="435" y="139"/>
                      </a:lnTo>
                      <a:lnTo>
                        <a:pt x="441" y="145"/>
                      </a:lnTo>
                      <a:lnTo>
                        <a:pt x="447" y="151"/>
                      </a:lnTo>
                      <a:lnTo>
                        <a:pt x="447" y="162"/>
                      </a:lnTo>
                      <a:lnTo>
                        <a:pt x="453" y="180"/>
                      </a:lnTo>
                      <a:lnTo>
                        <a:pt x="453" y="185"/>
                      </a:lnTo>
                      <a:lnTo>
                        <a:pt x="458" y="191"/>
                      </a:lnTo>
                      <a:lnTo>
                        <a:pt x="464" y="191"/>
                      </a:lnTo>
                      <a:lnTo>
                        <a:pt x="470" y="180"/>
                      </a:lnTo>
                      <a:lnTo>
                        <a:pt x="476" y="180"/>
                      </a:lnTo>
                      <a:lnTo>
                        <a:pt x="482" y="180"/>
                      </a:lnTo>
                      <a:lnTo>
                        <a:pt x="487" y="185"/>
                      </a:lnTo>
                      <a:lnTo>
                        <a:pt x="499" y="191"/>
                      </a:lnTo>
                      <a:lnTo>
                        <a:pt x="499" y="197"/>
                      </a:lnTo>
                      <a:lnTo>
                        <a:pt x="499" y="203"/>
                      </a:lnTo>
                      <a:lnTo>
                        <a:pt x="499" y="214"/>
                      </a:lnTo>
                      <a:lnTo>
                        <a:pt x="493" y="226"/>
                      </a:lnTo>
                      <a:lnTo>
                        <a:pt x="493" y="232"/>
                      </a:lnTo>
                      <a:lnTo>
                        <a:pt x="487" y="232"/>
                      </a:lnTo>
                      <a:lnTo>
                        <a:pt x="487" y="243"/>
                      </a:lnTo>
                      <a:lnTo>
                        <a:pt x="482" y="261"/>
                      </a:lnTo>
                      <a:lnTo>
                        <a:pt x="493" y="272"/>
                      </a:lnTo>
                      <a:lnTo>
                        <a:pt x="499" y="278"/>
                      </a:lnTo>
                      <a:lnTo>
                        <a:pt x="505" y="278"/>
                      </a:lnTo>
                      <a:lnTo>
                        <a:pt x="516" y="290"/>
                      </a:lnTo>
                      <a:lnTo>
                        <a:pt x="522" y="301"/>
                      </a:lnTo>
                      <a:lnTo>
                        <a:pt x="528" y="301"/>
                      </a:lnTo>
                      <a:lnTo>
                        <a:pt x="540" y="301"/>
                      </a:lnTo>
                      <a:lnTo>
                        <a:pt x="551" y="307"/>
                      </a:lnTo>
                      <a:lnTo>
                        <a:pt x="551" y="313"/>
                      </a:lnTo>
                      <a:lnTo>
                        <a:pt x="569" y="325"/>
                      </a:lnTo>
                      <a:lnTo>
                        <a:pt x="563" y="330"/>
                      </a:lnTo>
                      <a:lnTo>
                        <a:pt x="574" y="354"/>
                      </a:lnTo>
                      <a:lnTo>
                        <a:pt x="574" y="359"/>
                      </a:lnTo>
                      <a:lnTo>
                        <a:pt x="569" y="359"/>
                      </a:lnTo>
                      <a:lnTo>
                        <a:pt x="569" y="365"/>
                      </a:lnTo>
                      <a:lnTo>
                        <a:pt x="574" y="365"/>
                      </a:lnTo>
                      <a:lnTo>
                        <a:pt x="580" y="394"/>
                      </a:lnTo>
                      <a:lnTo>
                        <a:pt x="586" y="394"/>
                      </a:lnTo>
                      <a:lnTo>
                        <a:pt x="592" y="394"/>
                      </a:lnTo>
                      <a:lnTo>
                        <a:pt x="592" y="388"/>
                      </a:lnTo>
                      <a:lnTo>
                        <a:pt x="603" y="394"/>
                      </a:lnTo>
                      <a:lnTo>
                        <a:pt x="609" y="400"/>
                      </a:lnTo>
                      <a:lnTo>
                        <a:pt x="609" y="406"/>
                      </a:lnTo>
                      <a:lnTo>
                        <a:pt x="609" y="417"/>
                      </a:lnTo>
                      <a:lnTo>
                        <a:pt x="609" y="423"/>
                      </a:lnTo>
                      <a:lnTo>
                        <a:pt x="603" y="423"/>
                      </a:lnTo>
                      <a:lnTo>
                        <a:pt x="603" y="435"/>
                      </a:lnTo>
                      <a:lnTo>
                        <a:pt x="598" y="446"/>
                      </a:lnTo>
                      <a:lnTo>
                        <a:pt x="592" y="435"/>
                      </a:lnTo>
                      <a:lnTo>
                        <a:pt x="586" y="441"/>
                      </a:lnTo>
                      <a:lnTo>
                        <a:pt x="586" y="452"/>
                      </a:lnTo>
                      <a:lnTo>
                        <a:pt x="574" y="452"/>
                      </a:lnTo>
                      <a:lnTo>
                        <a:pt x="574" y="446"/>
                      </a:lnTo>
                      <a:lnTo>
                        <a:pt x="574" y="452"/>
                      </a:lnTo>
                      <a:lnTo>
                        <a:pt x="574" y="470"/>
                      </a:lnTo>
                      <a:lnTo>
                        <a:pt x="574" y="481"/>
                      </a:lnTo>
                      <a:lnTo>
                        <a:pt x="557" y="481"/>
                      </a:lnTo>
                      <a:lnTo>
                        <a:pt x="569" y="493"/>
                      </a:lnTo>
                      <a:lnTo>
                        <a:pt x="569" y="499"/>
                      </a:lnTo>
                      <a:lnTo>
                        <a:pt x="557" y="510"/>
                      </a:lnTo>
                      <a:lnTo>
                        <a:pt x="540" y="516"/>
                      </a:lnTo>
                      <a:lnTo>
                        <a:pt x="516" y="516"/>
                      </a:lnTo>
                      <a:lnTo>
                        <a:pt x="511" y="516"/>
                      </a:lnTo>
                      <a:lnTo>
                        <a:pt x="505" y="516"/>
                      </a:lnTo>
                      <a:lnTo>
                        <a:pt x="499" y="516"/>
                      </a:lnTo>
                      <a:lnTo>
                        <a:pt x="505" y="504"/>
                      </a:lnTo>
                      <a:lnTo>
                        <a:pt x="511" y="504"/>
                      </a:lnTo>
                      <a:lnTo>
                        <a:pt x="516" y="493"/>
                      </a:lnTo>
                      <a:lnTo>
                        <a:pt x="522" y="487"/>
                      </a:lnTo>
                      <a:lnTo>
                        <a:pt x="516" y="458"/>
                      </a:lnTo>
                      <a:lnTo>
                        <a:pt x="511" y="458"/>
                      </a:lnTo>
                      <a:lnTo>
                        <a:pt x="505" y="458"/>
                      </a:lnTo>
                      <a:lnTo>
                        <a:pt x="476" y="458"/>
                      </a:lnTo>
                      <a:lnTo>
                        <a:pt x="464" y="464"/>
                      </a:lnTo>
                      <a:lnTo>
                        <a:pt x="458" y="464"/>
                      </a:lnTo>
                      <a:lnTo>
                        <a:pt x="447" y="464"/>
                      </a:lnTo>
                      <a:lnTo>
                        <a:pt x="441" y="464"/>
                      </a:lnTo>
                      <a:lnTo>
                        <a:pt x="429" y="464"/>
                      </a:lnTo>
                      <a:lnTo>
                        <a:pt x="418" y="464"/>
                      </a:lnTo>
                      <a:lnTo>
                        <a:pt x="400" y="464"/>
                      </a:lnTo>
                      <a:lnTo>
                        <a:pt x="395" y="464"/>
                      </a:lnTo>
                      <a:lnTo>
                        <a:pt x="389" y="464"/>
                      </a:lnTo>
                      <a:lnTo>
                        <a:pt x="377" y="464"/>
                      </a:lnTo>
                      <a:lnTo>
                        <a:pt x="371" y="464"/>
                      </a:lnTo>
                      <a:lnTo>
                        <a:pt x="348" y="470"/>
                      </a:lnTo>
                      <a:lnTo>
                        <a:pt x="336" y="470"/>
                      </a:lnTo>
                      <a:lnTo>
                        <a:pt x="331" y="470"/>
                      </a:lnTo>
                      <a:lnTo>
                        <a:pt x="313" y="470"/>
                      </a:lnTo>
                      <a:lnTo>
                        <a:pt x="307" y="470"/>
                      </a:lnTo>
                      <a:lnTo>
                        <a:pt x="296" y="470"/>
                      </a:lnTo>
                      <a:lnTo>
                        <a:pt x="278" y="470"/>
                      </a:lnTo>
                      <a:lnTo>
                        <a:pt x="273" y="470"/>
                      </a:lnTo>
                      <a:lnTo>
                        <a:pt x="267" y="470"/>
                      </a:lnTo>
                      <a:lnTo>
                        <a:pt x="249" y="470"/>
                      </a:lnTo>
                      <a:lnTo>
                        <a:pt x="238" y="470"/>
                      </a:lnTo>
                      <a:lnTo>
                        <a:pt x="226" y="470"/>
                      </a:lnTo>
                      <a:lnTo>
                        <a:pt x="220" y="470"/>
                      </a:lnTo>
                      <a:lnTo>
                        <a:pt x="215" y="470"/>
                      </a:lnTo>
                      <a:lnTo>
                        <a:pt x="203" y="475"/>
                      </a:lnTo>
                      <a:lnTo>
                        <a:pt x="191" y="475"/>
                      </a:lnTo>
                      <a:lnTo>
                        <a:pt x="180" y="475"/>
                      </a:lnTo>
                      <a:lnTo>
                        <a:pt x="174" y="475"/>
                      </a:lnTo>
                      <a:lnTo>
                        <a:pt x="168" y="475"/>
                      </a:lnTo>
                      <a:lnTo>
                        <a:pt x="162" y="475"/>
                      </a:lnTo>
                      <a:lnTo>
                        <a:pt x="157" y="475"/>
                      </a:lnTo>
                      <a:lnTo>
                        <a:pt x="128" y="475"/>
                      </a:lnTo>
                      <a:lnTo>
                        <a:pt x="116" y="475"/>
                      </a:lnTo>
                      <a:lnTo>
                        <a:pt x="104" y="475"/>
                      </a:lnTo>
                      <a:lnTo>
                        <a:pt x="104" y="464"/>
                      </a:lnTo>
                      <a:lnTo>
                        <a:pt x="104" y="458"/>
                      </a:lnTo>
                      <a:lnTo>
                        <a:pt x="104" y="452"/>
                      </a:lnTo>
                      <a:lnTo>
                        <a:pt x="104" y="446"/>
                      </a:lnTo>
                      <a:lnTo>
                        <a:pt x="104" y="435"/>
                      </a:lnTo>
                      <a:lnTo>
                        <a:pt x="104" y="423"/>
                      </a:lnTo>
                      <a:lnTo>
                        <a:pt x="104" y="417"/>
                      </a:lnTo>
                      <a:lnTo>
                        <a:pt x="104" y="412"/>
                      </a:lnTo>
                      <a:lnTo>
                        <a:pt x="104" y="406"/>
                      </a:lnTo>
                      <a:lnTo>
                        <a:pt x="104" y="400"/>
                      </a:lnTo>
                      <a:lnTo>
                        <a:pt x="104" y="377"/>
                      </a:lnTo>
                      <a:lnTo>
                        <a:pt x="104" y="359"/>
                      </a:lnTo>
                      <a:lnTo>
                        <a:pt x="104" y="342"/>
                      </a:lnTo>
                      <a:lnTo>
                        <a:pt x="104" y="330"/>
                      </a:lnTo>
                      <a:lnTo>
                        <a:pt x="104" y="313"/>
                      </a:lnTo>
                      <a:lnTo>
                        <a:pt x="104" y="301"/>
                      </a:lnTo>
                      <a:lnTo>
                        <a:pt x="104" y="296"/>
                      </a:lnTo>
                      <a:lnTo>
                        <a:pt x="104" y="284"/>
                      </a:lnTo>
                      <a:lnTo>
                        <a:pt x="104" y="278"/>
                      </a:lnTo>
                      <a:lnTo>
                        <a:pt x="104" y="261"/>
                      </a:lnTo>
                      <a:lnTo>
                        <a:pt x="104" y="249"/>
                      </a:lnTo>
                      <a:lnTo>
                        <a:pt x="104" y="232"/>
                      </a:lnTo>
                      <a:lnTo>
                        <a:pt x="104" y="220"/>
                      </a:lnTo>
                      <a:lnTo>
                        <a:pt x="104" y="209"/>
                      </a:lnTo>
                      <a:lnTo>
                        <a:pt x="104" y="203"/>
                      </a:lnTo>
                      <a:lnTo>
                        <a:pt x="104" y="191"/>
                      </a:lnTo>
                      <a:lnTo>
                        <a:pt x="99" y="185"/>
                      </a:lnTo>
                      <a:lnTo>
                        <a:pt x="99" y="180"/>
                      </a:lnTo>
                      <a:lnTo>
                        <a:pt x="99" y="174"/>
                      </a:lnTo>
                      <a:lnTo>
                        <a:pt x="104" y="174"/>
                      </a:lnTo>
                      <a:lnTo>
                        <a:pt x="99" y="174"/>
                      </a:lnTo>
                      <a:lnTo>
                        <a:pt x="87" y="168"/>
                      </a:lnTo>
                      <a:lnTo>
                        <a:pt x="75" y="156"/>
                      </a:lnTo>
                      <a:lnTo>
                        <a:pt x="75" y="151"/>
                      </a:lnTo>
                      <a:lnTo>
                        <a:pt x="70" y="145"/>
                      </a:lnTo>
                      <a:lnTo>
                        <a:pt x="64" y="139"/>
                      </a:lnTo>
                      <a:lnTo>
                        <a:pt x="64" y="133"/>
                      </a:lnTo>
                      <a:lnTo>
                        <a:pt x="58" y="127"/>
                      </a:lnTo>
                      <a:lnTo>
                        <a:pt x="64" y="122"/>
                      </a:lnTo>
                      <a:lnTo>
                        <a:pt x="64" y="116"/>
                      </a:lnTo>
                      <a:lnTo>
                        <a:pt x="75" y="110"/>
                      </a:lnTo>
                      <a:lnTo>
                        <a:pt x="75" y="98"/>
                      </a:lnTo>
                      <a:lnTo>
                        <a:pt x="70" y="93"/>
                      </a:lnTo>
                      <a:lnTo>
                        <a:pt x="64" y="87"/>
                      </a:lnTo>
                      <a:lnTo>
                        <a:pt x="64" y="93"/>
                      </a:lnTo>
                      <a:lnTo>
                        <a:pt x="52" y="93"/>
                      </a:lnTo>
                      <a:lnTo>
                        <a:pt x="41" y="75"/>
                      </a:lnTo>
                      <a:lnTo>
                        <a:pt x="35" y="75"/>
                      </a:lnTo>
                      <a:lnTo>
                        <a:pt x="23" y="46"/>
                      </a:lnTo>
                      <a:lnTo>
                        <a:pt x="17" y="46"/>
                      </a:lnTo>
                      <a:lnTo>
                        <a:pt x="11" y="40"/>
                      </a:lnTo>
                      <a:lnTo>
                        <a:pt x="6" y="11"/>
                      </a:lnTo>
                      <a:lnTo>
                        <a:pt x="6" y="17"/>
                      </a:lnTo>
                      <a:lnTo>
                        <a:pt x="0" y="17"/>
                      </a:lnTo>
                      <a:lnTo>
                        <a:pt x="0" y="11"/>
                      </a:lnTo>
                      <a:lnTo>
                        <a:pt x="23" y="11"/>
                      </a:lnTo>
                      <a:lnTo>
                        <a:pt x="35" y="11"/>
                      </a:lnTo>
                      <a:lnTo>
                        <a:pt x="41" y="11"/>
                      </a:lnTo>
                      <a:lnTo>
                        <a:pt x="46" y="11"/>
                      </a:lnTo>
                      <a:lnTo>
                        <a:pt x="64" y="11"/>
                      </a:lnTo>
                      <a:lnTo>
                        <a:pt x="70" y="11"/>
                      </a:lnTo>
                      <a:lnTo>
                        <a:pt x="87" y="11"/>
                      </a:lnTo>
                      <a:lnTo>
                        <a:pt x="99" y="11"/>
                      </a:lnTo>
                      <a:lnTo>
                        <a:pt x="110" y="11"/>
                      </a:lnTo>
                      <a:lnTo>
                        <a:pt x="128" y="11"/>
                      </a:lnTo>
                      <a:lnTo>
                        <a:pt x="133" y="11"/>
                      </a:lnTo>
                      <a:close/>
                    </a:path>
                  </a:pathLst>
                </a:custGeom>
                <a:solidFill>
                  <a:srgbClr val="70AD47">
                    <a:lumMod val="20000"/>
                    <a:lumOff val="8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47" name="Freeform 46"/>
                <p:cNvSpPr>
                  <a:spLocks/>
                </p:cNvSpPr>
                <p:nvPr/>
              </p:nvSpPr>
              <p:spPr bwMode="auto">
                <a:xfrm>
                  <a:off x="2846388" y="441207"/>
                  <a:ext cx="939800" cy="607850"/>
                </a:xfrm>
                <a:custGeom>
                  <a:avLst/>
                  <a:gdLst>
                    <a:gd name="T0" fmla="*/ 221 w 592"/>
                    <a:gd name="T1" fmla="*/ 366 h 383"/>
                    <a:gd name="T2" fmla="*/ 279 w 592"/>
                    <a:gd name="T3" fmla="*/ 372 h 383"/>
                    <a:gd name="T4" fmla="*/ 331 w 592"/>
                    <a:gd name="T5" fmla="*/ 378 h 383"/>
                    <a:gd name="T6" fmla="*/ 348 w 592"/>
                    <a:gd name="T7" fmla="*/ 378 h 383"/>
                    <a:gd name="T8" fmla="*/ 401 w 592"/>
                    <a:gd name="T9" fmla="*/ 378 h 383"/>
                    <a:gd name="T10" fmla="*/ 424 w 592"/>
                    <a:gd name="T11" fmla="*/ 378 h 383"/>
                    <a:gd name="T12" fmla="*/ 459 w 592"/>
                    <a:gd name="T13" fmla="*/ 378 h 383"/>
                    <a:gd name="T14" fmla="*/ 482 w 592"/>
                    <a:gd name="T15" fmla="*/ 383 h 383"/>
                    <a:gd name="T16" fmla="*/ 540 w 592"/>
                    <a:gd name="T17" fmla="*/ 383 h 383"/>
                    <a:gd name="T18" fmla="*/ 581 w 592"/>
                    <a:gd name="T19" fmla="*/ 383 h 383"/>
                    <a:gd name="T20" fmla="*/ 592 w 592"/>
                    <a:gd name="T21" fmla="*/ 378 h 383"/>
                    <a:gd name="T22" fmla="*/ 592 w 592"/>
                    <a:gd name="T23" fmla="*/ 337 h 383"/>
                    <a:gd name="T24" fmla="*/ 581 w 592"/>
                    <a:gd name="T25" fmla="*/ 302 h 383"/>
                    <a:gd name="T26" fmla="*/ 581 w 592"/>
                    <a:gd name="T27" fmla="*/ 273 h 383"/>
                    <a:gd name="T28" fmla="*/ 575 w 592"/>
                    <a:gd name="T29" fmla="*/ 244 h 383"/>
                    <a:gd name="T30" fmla="*/ 575 w 592"/>
                    <a:gd name="T31" fmla="*/ 232 h 383"/>
                    <a:gd name="T32" fmla="*/ 575 w 592"/>
                    <a:gd name="T33" fmla="*/ 215 h 383"/>
                    <a:gd name="T34" fmla="*/ 575 w 592"/>
                    <a:gd name="T35" fmla="*/ 192 h 383"/>
                    <a:gd name="T36" fmla="*/ 563 w 592"/>
                    <a:gd name="T37" fmla="*/ 157 h 383"/>
                    <a:gd name="T38" fmla="*/ 552 w 592"/>
                    <a:gd name="T39" fmla="*/ 122 h 383"/>
                    <a:gd name="T40" fmla="*/ 552 w 592"/>
                    <a:gd name="T41" fmla="*/ 82 h 383"/>
                    <a:gd name="T42" fmla="*/ 546 w 592"/>
                    <a:gd name="T43" fmla="*/ 29 h 383"/>
                    <a:gd name="T44" fmla="*/ 412 w 592"/>
                    <a:gd name="T45" fmla="*/ 29 h 383"/>
                    <a:gd name="T46" fmla="*/ 325 w 592"/>
                    <a:gd name="T47" fmla="*/ 24 h 383"/>
                    <a:gd name="T48" fmla="*/ 227 w 592"/>
                    <a:gd name="T49" fmla="*/ 18 h 383"/>
                    <a:gd name="T50" fmla="*/ 116 w 592"/>
                    <a:gd name="T51" fmla="*/ 12 h 383"/>
                    <a:gd name="T52" fmla="*/ 29 w 592"/>
                    <a:gd name="T53" fmla="*/ 29 h 383"/>
                    <a:gd name="T54" fmla="*/ 29 w 592"/>
                    <a:gd name="T55" fmla="*/ 47 h 383"/>
                    <a:gd name="T56" fmla="*/ 23 w 592"/>
                    <a:gd name="T57" fmla="*/ 70 h 383"/>
                    <a:gd name="T58" fmla="*/ 23 w 592"/>
                    <a:gd name="T59" fmla="*/ 116 h 383"/>
                    <a:gd name="T60" fmla="*/ 18 w 592"/>
                    <a:gd name="T61" fmla="*/ 145 h 383"/>
                    <a:gd name="T62" fmla="*/ 12 w 592"/>
                    <a:gd name="T63" fmla="*/ 192 h 383"/>
                    <a:gd name="T64" fmla="*/ 6 w 592"/>
                    <a:gd name="T65" fmla="*/ 261 h 383"/>
                    <a:gd name="T66" fmla="*/ 6 w 592"/>
                    <a:gd name="T67" fmla="*/ 285 h 383"/>
                    <a:gd name="T68" fmla="*/ 0 w 592"/>
                    <a:gd name="T69" fmla="*/ 314 h 383"/>
                    <a:gd name="T70" fmla="*/ 0 w 592"/>
                    <a:gd name="T71" fmla="*/ 337 h 383"/>
                    <a:gd name="T72" fmla="*/ 35 w 592"/>
                    <a:gd name="T73" fmla="*/ 354 h 383"/>
                    <a:gd name="T74" fmla="*/ 87 w 592"/>
                    <a:gd name="T75" fmla="*/ 360 h 383"/>
                    <a:gd name="T76" fmla="*/ 151 w 592"/>
                    <a:gd name="T77" fmla="*/ 366 h 383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592"/>
                    <a:gd name="T118" fmla="*/ 0 h 383"/>
                    <a:gd name="T119" fmla="*/ 592 w 592"/>
                    <a:gd name="T120" fmla="*/ 383 h 383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592" h="383">
                      <a:moveTo>
                        <a:pt x="163" y="366"/>
                      </a:moveTo>
                      <a:lnTo>
                        <a:pt x="221" y="366"/>
                      </a:lnTo>
                      <a:lnTo>
                        <a:pt x="232" y="372"/>
                      </a:lnTo>
                      <a:lnTo>
                        <a:pt x="279" y="372"/>
                      </a:lnTo>
                      <a:lnTo>
                        <a:pt x="319" y="372"/>
                      </a:lnTo>
                      <a:lnTo>
                        <a:pt x="331" y="378"/>
                      </a:lnTo>
                      <a:lnTo>
                        <a:pt x="343" y="378"/>
                      </a:lnTo>
                      <a:lnTo>
                        <a:pt x="348" y="378"/>
                      </a:lnTo>
                      <a:lnTo>
                        <a:pt x="383" y="378"/>
                      </a:lnTo>
                      <a:lnTo>
                        <a:pt x="401" y="378"/>
                      </a:lnTo>
                      <a:lnTo>
                        <a:pt x="418" y="378"/>
                      </a:lnTo>
                      <a:lnTo>
                        <a:pt x="424" y="378"/>
                      </a:lnTo>
                      <a:lnTo>
                        <a:pt x="453" y="378"/>
                      </a:lnTo>
                      <a:lnTo>
                        <a:pt x="459" y="378"/>
                      </a:lnTo>
                      <a:lnTo>
                        <a:pt x="482" y="378"/>
                      </a:lnTo>
                      <a:lnTo>
                        <a:pt x="482" y="383"/>
                      </a:lnTo>
                      <a:lnTo>
                        <a:pt x="523" y="383"/>
                      </a:lnTo>
                      <a:lnTo>
                        <a:pt x="540" y="383"/>
                      </a:lnTo>
                      <a:lnTo>
                        <a:pt x="557" y="383"/>
                      </a:lnTo>
                      <a:lnTo>
                        <a:pt x="581" y="383"/>
                      </a:lnTo>
                      <a:lnTo>
                        <a:pt x="592" y="383"/>
                      </a:lnTo>
                      <a:lnTo>
                        <a:pt x="592" y="378"/>
                      </a:lnTo>
                      <a:lnTo>
                        <a:pt x="592" y="372"/>
                      </a:lnTo>
                      <a:lnTo>
                        <a:pt x="592" y="337"/>
                      </a:lnTo>
                      <a:lnTo>
                        <a:pt x="581" y="319"/>
                      </a:lnTo>
                      <a:lnTo>
                        <a:pt x="581" y="302"/>
                      </a:lnTo>
                      <a:lnTo>
                        <a:pt x="575" y="302"/>
                      </a:lnTo>
                      <a:lnTo>
                        <a:pt x="581" y="273"/>
                      </a:lnTo>
                      <a:lnTo>
                        <a:pt x="575" y="261"/>
                      </a:lnTo>
                      <a:lnTo>
                        <a:pt x="575" y="244"/>
                      </a:lnTo>
                      <a:lnTo>
                        <a:pt x="575" y="238"/>
                      </a:lnTo>
                      <a:lnTo>
                        <a:pt x="575" y="232"/>
                      </a:lnTo>
                      <a:lnTo>
                        <a:pt x="575" y="221"/>
                      </a:lnTo>
                      <a:lnTo>
                        <a:pt x="575" y="215"/>
                      </a:lnTo>
                      <a:lnTo>
                        <a:pt x="575" y="203"/>
                      </a:lnTo>
                      <a:lnTo>
                        <a:pt x="575" y="192"/>
                      </a:lnTo>
                      <a:lnTo>
                        <a:pt x="569" y="180"/>
                      </a:lnTo>
                      <a:lnTo>
                        <a:pt x="563" y="157"/>
                      </a:lnTo>
                      <a:lnTo>
                        <a:pt x="552" y="128"/>
                      </a:lnTo>
                      <a:lnTo>
                        <a:pt x="552" y="122"/>
                      </a:lnTo>
                      <a:lnTo>
                        <a:pt x="552" y="99"/>
                      </a:lnTo>
                      <a:lnTo>
                        <a:pt x="552" y="82"/>
                      </a:lnTo>
                      <a:lnTo>
                        <a:pt x="552" y="47"/>
                      </a:lnTo>
                      <a:lnTo>
                        <a:pt x="546" y="29"/>
                      </a:lnTo>
                      <a:lnTo>
                        <a:pt x="494" y="29"/>
                      </a:lnTo>
                      <a:lnTo>
                        <a:pt x="412" y="29"/>
                      </a:lnTo>
                      <a:lnTo>
                        <a:pt x="372" y="24"/>
                      </a:lnTo>
                      <a:lnTo>
                        <a:pt x="325" y="24"/>
                      </a:lnTo>
                      <a:lnTo>
                        <a:pt x="232" y="18"/>
                      </a:lnTo>
                      <a:lnTo>
                        <a:pt x="227" y="18"/>
                      </a:lnTo>
                      <a:lnTo>
                        <a:pt x="186" y="18"/>
                      </a:lnTo>
                      <a:lnTo>
                        <a:pt x="116" y="12"/>
                      </a:lnTo>
                      <a:lnTo>
                        <a:pt x="29" y="0"/>
                      </a:lnTo>
                      <a:lnTo>
                        <a:pt x="29" y="29"/>
                      </a:lnTo>
                      <a:lnTo>
                        <a:pt x="29" y="41"/>
                      </a:lnTo>
                      <a:lnTo>
                        <a:pt x="29" y="47"/>
                      </a:lnTo>
                      <a:lnTo>
                        <a:pt x="23" y="58"/>
                      </a:lnTo>
                      <a:lnTo>
                        <a:pt x="23" y="70"/>
                      </a:lnTo>
                      <a:lnTo>
                        <a:pt x="23" y="105"/>
                      </a:lnTo>
                      <a:lnTo>
                        <a:pt x="23" y="116"/>
                      </a:lnTo>
                      <a:lnTo>
                        <a:pt x="18" y="134"/>
                      </a:lnTo>
                      <a:lnTo>
                        <a:pt x="18" y="145"/>
                      </a:lnTo>
                      <a:lnTo>
                        <a:pt x="12" y="186"/>
                      </a:lnTo>
                      <a:lnTo>
                        <a:pt x="12" y="192"/>
                      </a:lnTo>
                      <a:lnTo>
                        <a:pt x="12" y="215"/>
                      </a:lnTo>
                      <a:lnTo>
                        <a:pt x="6" y="261"/>
                      </a:lnTo>
                      <a:lnTo>
                        <a:pt x="6" y="273"/>
                      </a:lnTo>
                      <a:lnTo>
                        <a:pt x="6" y="285"/>
                      </a:lnTo>
                      <a:lnTo>
                        <a:pt x="6" y="290"/>
                      </a:lnTo>
                      <a:lnTo>
                        <a:pt x="0" y="314"/>
                      </a:lnTo>
                      <a:lnTo>
                        <a:pt x="0" y="319"/>
                      </a:lnTo>
                      <a:lnTo>
                        <a:pt x="0" y="337"/>
                      </a:lnTo>
                      <a:lnTo>
                        <a:pt x="0" y="354"/>
                      </a:lnTo>
                      <a:lnTo>
                        <a:pt x="35" y="354"/>
                      </a:lnTo>
                      <a:lnTo>
                        <a:pt x="81" y="360"/>
                      </a:lnTo>
                      <a:lnTo>
                        <a:pt x="87" y="360"/>
                      </a:lnTo>
                      <a:lnTo>
                        <a:pt x="122" y="360"/>
                      </a:lnTo>
                      <a:lnTo>
                        <a:pt x="151" y="366"/>
                      </a:lnTo>
                      <a:lnTo>
                        <a:pt x="163" y="366"/>
                      </a:lnTo>
                      <a:close/>
                    </a:path>
                  </a:pathLst>
                </a:custGeom>
                <a:solidFill>
                  <a:srgbClr val="70AD47">
                    <a:lumMod val="20000"/>
                    <a:lumOff val="8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48" name="Freeform 47"/>
                <p:cNvSpPr>
                  <a:spLocks/>
                </p:cNvSpPr>
                <p:nvPr/>
              </p:nvSpPr>
              <p:spPr bwMode="auto">
                <a:xfrm>
                  <a:off x="2763838" y="1528354"/>
                  <a:ext cx="1198563" cy="588805"/>
                </a:xfrm>
                <a:custGeom>
                  <a:avLst/>
                  <a:gdLst>
                    <a:gd name="T0" fmla="*/ 424 w 755"/>
                    <a:gd name="T1" fmla="*/ 371 h 371"/>
                    <a:gd name="T2" fmla="*/ 400 w 755"/>
                    <a:gd name="T3" fmla="*/ 365 h 371"/>
                    <a:gd name="T4" fmla="*/ 360 w 755"/>
                    <a:gd name="T5" fmla="*/ 365 h 371"/>
                    <a:gd name="T6" fmla="*/ 308 w 755"/>
                    <a:gd name="T7" fmla="*/ 365 h 371"/>
                    <a:gd name="T8" fmla="*/ 273 w 755"/>
                    <a:gd name="T9" fmla="*/ 360 h 371"/>
                    <a:gd name="T10" fmla="*/ 226 w 755"/>
                    <a:gd name="T11" fmla="*/ 360 h 371"/>
                    <a:gd name="T12" fmla="*/ 163 w 755"/>
                    <a:gd name="T13" fmla="*/ 313 h 371"/>
                    <a:gd name="T14" fmla="*/ 168 w 755"/>
                    <a:gd name="T15" fmla="*/ 284 h 371"/>
                    <a:gd name="T16" fmla="*/ 168 w 755"/>
                    <a:gd name="T17" fmla="*/ 244 h 371"/>
                    <a:gd name="T18" fmla="*/ 58 w 755"/>
                    <a:gd name="T19" fmla="*/ 232 h 371"/>
                    <a:gd name="T20" fmla="*/ 0 w 755"/>
                    <a:gd name="T21" fmla="*/ 226 h 371"/>
                    <a:gd name="T22" fmla="*/ 0 w 755"/>
                    <a:gd name="T23" fmla="*/ 186 h 371"/>
                    <a:gd name="T24" fmla="*/ 6 w 755"/>
                    <a:gd name="T25" fmla="*/ 157 h 371"/>
                    <a:gd name="T26" fmla="*/ 6 w 755"/>
                    <a:gd name="T27" fmla="*/ 128 h 371"/>
                    <a:gd name="T28" fmla="*/ 12 w 755"/>
                    <a:gd name="T29" fmla="*/ 87 h 371"/>
                    <a:gd name="T30" fmla="*/ 17 w 755"/>
                    <a:gd name="T31" fmla="*/ 6 h 371"/>
                    <a:gd name="T32" fmla="*/ 64 w 755"/>
                    <a:gd name="T33" fmla="*/ 6 h 371"/>
                    <a:gd name="T34" fmla="*/ 116 w 755"/>
                    <a:gd name="T35" fmla="*/ 12 h 371"/>
                    <a:gd name="T36" fmla="*/ 168 w 755"/>
                    <a:gd name="T37" fmla="*/ 12 h 371"/>
                    <a:gd name="T38" fmla="*/ 215 w 755"/>
                    <a:gd name="T39" fmla="*/ 17 h 371"/>
                    <a:gd name="T40" fmla="*/ 313 w 755"/>
                    <a:gd name="T41" fmla="*/ 23 h 371"/>
                    <a:gd name="T42" fmla="*/ 418 w 755"/>
                    <a:gd name="T43" fmla="*/ 29 h 371"/>
                    <a:gd name="T44" fmla="*/ 499 w 755"/>
                    <a:gd name="T45" fmla="*/ 41 h 371"/>
                    <a:gd name="T46" fmla="*/ 522 w 755"/>
                    <a:gd name="T47" fmla="*/ 58 h 371"/>
                    <a:gd name="T48" fmla="*/ 569 w 755"/>
                    <a:gd name="T49" fmla="*/ 46 h 371"/>
                    <a:gd name="T50" fmla="*/ 598 w 755"/>
                    <a:gd name="T51" fmla="*/ 58 h 371"/>
                    <a:gd name="T52" fmla="*/ 633 w 755"/>
                    <a:gd name="T53" fmla="*/ 75 h 371"/>
                    <a:gd name="T54" fmla="*/ 656 w 755"/>
                    <a:gd name="T55" fmla="*/ 93 h 371"/>
                    <a:gd name="T56" fmla="*/ 667 w 755"/>
                    <a:gd name="T57" fmla="*/ 133 h 371"/>
                    <a:gd name="T58" fmla="*/ 679 w 755"/>
                    <a:gd name="T59" fmla="*/ 145 h 371"/>
                    <a:gd name="T60" fmla="*/ 679 w 755"/>
                    <a:gd name="T61" fmla="*/ 180 h 371"/>
                    <a:gd name="T62" fmla="*/ 691 w 755"/>
                    <a:gd name="T63" fmla="*/ 203 h 371"/>
                    <a:gd name="T64" fmla="*/ 702 w 755"/>
                    <a:gd name="T65" fmla="*/ 226 h 371"/>
                    <a:gd name="T66" fmla="*/ 702 w 755"/>
                    <a:gd name="T67" fmla="*/ 238 h 371"/>
                    <a:gd name="T68" fmla="*/ 702 w 755"/>
                    <a:gd name="T69" fmla="*/ 261 h 371"/>
                    <a:gd name="T70" fmla="*/ 702 w 755"/>
                    <a:gd name="T71" fmla="*/ 290 h 371"/>
                    <a:gd name="T72" fmla="*/ 714 w 755"/>
                    <a:gd name="T73" fmla="*/ 313 h 371"/>
                    <a:gd name="T74" fmla="*/ 725 w 755"/>
                    <a:gd name="T75" fmla="*/ 336 h 371"/>
                    <a:gd name="T76" fmla="*/ 749 w 755"/>
                    <a:gd name="T77" fmla="*/ 371 h 371"/>
                    <a:gd name="T78" fmla="*/ 708 w 755"/>
                    <a:gd name="T79" fmla="*/ 371 h 371"/>
                    <a:gd name="T80" fmla="*/ 679 w 755"/>
                    <a:gd name="T81" fmla="*/ 371 h 371"/>
                    <a:gd name="T82" fmla="*/ 662 w 755"/>
                    <a:gd name="T83" fmla="*/ 371 h 371"/>
                    <a:gd name="T84" fmla="*/ 621 w 755"/>
                    <a:gd name="T85" fmla="*/ 371 h 371"/>
                    <a:gd name="T86" fmla="*/ 592 w 755"/>
                    <a:gd name="T87" fmla="*/ 371 h 371"/>
                    <a:gd name="T88" fmla="*/ 569 w 755"/>
                    <a:gd name="T89" fmla="*/ 371 h 371"/>
                    <a:gd name="T90" fmla="*/ 528 w 755"/>
                    <a:gd name="T91" fmla="*/ 371 h 371"/>
                    <a:gd name="T92" fmla="*/ 505 w 755"/>
                    <a:gd name="T93" fmla="*/ 371 h 371"/>
                    <a:gd name="T94" fmla="*/ 470 w 755"/>
                    <a:gd name="T95" fmla="*/ 371 h 37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755"/>
                    <a:gd name="T145" fmla="*/ 0 h 371"/>
                    <a:gd name="T146" fmla="*/ 755 w 755"/>
                    <a:gd name="T147" fmla="*/ 371 h 37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755" h="371">
                      <a:moveTo>
                        <a:pt x="453" y="371"/>
                      </a:moveTo>
                      <a:lnTo>
                        <a:pt x="441" y="371"/>
                      </a:lnTo>
                      <a:lnTo>
                        <a:pt x="424" y="371"/>
                      </a:lnTo>
                      <a:lnTo>
                        <a:pt x="418" y="365"/>
                      </a:lnTo>
                      <a:lnTo>
                        <a:pt x="412" y="365"/>
                      </a:lnTo>
                      <a:lnTo>
                        <a:pt x="400" y="365"/>
                      </a:lnTo>
                      <a:lnTo>
                        <a:pt x="395" y="365"/>
                      </a:lnTo>
                      <a:lnTo>
                        <a:pt x="377" y="365"/>
                      </a:lnTo>
                      <a:lnTo>
                        <a:pt x="360" y="365"/>
                      </a:lnTo>
                      <a:lnTo>
                        <a:pt x="331" y="365"/>
                      </a:lnTo>
                      <a:lnTo>
                        <a:pt x="325" y="365"/>
                      </a:lnTo>
                      <a:lnTo>
                        <a:pt x="308" y="365"/>
                      </a:lnTo>
                      <a:lnTo>
                        <a:pt x="290" y="365"/>
                      </a:lnTo>
                      <a:lnTo>
                        <a:pt x="279" y="360"/>
                      </a:lnTo>
                      <a:lnTo>
                        <a:pt x="273" y="360"/>
                      </a:lnTo>
                      <a:lnTo>
                        <a:pt x="267" y="360"/>
                      </a:lnTo>
                      <a:lnTo>
                        <a:pt x="244" y="360"/>
                      </a:lnTo>
                      <a:lnTo>
                        <a:pt x="226" y="360"/>
                      </a:lnTo>
                      <a:lnTo>
                        <a:pt x="221" y="360"/>
                      </a:lnTo>
                      <a:lnTo>
                        <a:pt x="163" y="354"/>
                      </a:lnTo>
                      <a:lnTo>
                        <a:pt x="163" y="313"/>
                      </a:lnTo>
                      <a:lnTo>
                        <a:pt x="168" y="307"/>
                      </a:lnTo>
                      <a:lnTo>
                        <a:pt x="168" y="296"/>
                      </a:lnTo>
                      <a:lnTo>
                        <a:pt x="168" y="284"/>
                      </a:lnTo>
                      <a:lnTo>
                        <a:pt x="168" y="278"/>
                      </a:lnTo>
                      <a:lnTo>
                        <a:pt x="168" y="273"/>
                      </a:lnTo>
                      <a:lnTo>
                        <a:pt x="168" y="244"/>
                      </a:lnTo>
                      <a:lnTo>
                        <a:pt x="122" y="238"/>
                      </a:lnTo>
                      <a:lnTo>
                        <a:pt x="116" y="238"/>
                      </a:lnTo>
                      <a:lnTo>
                        <a:pt x="58" y="232"/>
                      </a:lnTo>
                      <a:lnTo>
                        <a:pt x="41" y="232"/>
                      </a:lnTo>
                      <a:lnTo>
                        <a:pt x="35" y="232"/>
                      </a:lnTo>
                      <a:lnTo>
                        <a:pt x="0" y="226"/>
                      </a:lnTo>
                      <a:lnTo>
                        <a:pt x="0" y="215"/>
                      </a:lnTo>
                      <a:lnTo>
                        <a:pt x="0" y="191"/>
                      </a:lnTo>
                      <a:lnTo>
                        <a:pt x="0" y="186"/>
                      </a:lnTo>
                      <a:lnTo>
                        <a:pt x="6" y="168"/>
                      </a:lnTo>
                      <a:lnTo>
                        <a:pt x="6" y="162"/>
                      </a:lnTo>
                      <a:lnTo>
                        <a:pt x="6" y="157"/>
                      </a:lnTo>
                      <a:lnTo>
                        <a:pt x="6" y="151"/>
                      </a:lnTo>
                      <a:lnTo>
                        <a:pt x="6" y="145"/>
                      </a:lnTo>
                      <a:lnTo>
                        <a:pt x="6" y="128"/>
                      </a:lnTo>
                      <a:lnTo>
                        <a:pt x="12" y="116"/>
                      </a:lnTo>
                      <a:lnTo>
                        <a:pt x="12" y="99"/>
                      </a:lnTo>
                      <a:lnTo>
                        <a:pt x="12" y="87"/>
                      </a:lnTo>
                      <a:lnTo>
                        <a:pt x="17" y="46"/>
                      </a:lnTo>
                      <a:lnTo>
                        <a:pt x="17" y="23"/>
                      </a:lnTo>
                      <a:lnTo>
                        <a:pt x="17" y="6"/>
                      </a:lnTo>
                      <a:lnTo>
                        <a:pt x="17" y="0"/>
                      </a:lnTo>
                      <a:lnTo>
                        <a:pt x="23" y="0"/>
                      </a:lnTo>
                      <a:lnTo>
                        <a:pt x="64" y="6"/>
                      </a:lnTo>
                      <a:lnTo>
                        <a:pt x="87" y="6"/>
                      </a:lnTo>
                      <a:lnTo>
                        <a:pt x="104" y="6"/>
                      </a:lnTo>
                      <a:lnTo>
                        <a:pt x="116" y="12"/>
                      </a:lnTo>
                      <a:lnTo>
                        <a:pt x="122" y="12"/>
                      </a:lnTo>
                      <a:lnTo>
                        <a:pt x="151" y="12"/>
                      </a:lnTo>
                      <a:lnTo>
                        <a:pt x="168" y="12"/>
                      </a:lnTo>
                      <a:lnTo>
                        <a:pt x="186" y="12"/>
                      </a:lnTo>
                      <a:lnTo>
                        <a:pt x="209" y="17"/>
                      </a:lnTo>
                      <a:lnTo>
                        <a:pt x="215" y="17"/>
                      </a:lnTo>
                      <a:lnTo>
                        <a:pt x="255" y="17"/>
                      </a:lnTo>
                      <a:lnTo>
                        <a:pt x="290" y="23"/>
                      </a:lnTo>
                      <a:lnTo>
                        <a:pt x="313" y="23"/>
                      </a:lnTo>
                      <a:lnTo>
                        <a:pt x="342" y="23"/>
                      </a:lnTo>
                      <a:lnTo>
                        <a:pt x="395" y="29"/>
                      </a:lnTo>
                      <a:lnTo>
                        <a:pt x="418" y="29"/>
                      </a:lnTo>
                      <a:lnTo>
                        <a:pt x="482" y="29"/>
                      </a:lnTo>
                      <a:lnTo>
                        <a:pt x="493" y="41"/>
                      </a:lnTo>
                      <a:lnTo>
                        <a:pt x="499" y="41"/>
                      </a:lnTo>
                      <a:lnTo>
                        <a:pt x="505" y="46"/>
                      </a:lnTo>
                      <a:lnTo>
                        <a:pt x="511" y="46"/>
                      </a:lnTo>
                      <a:lnTo>
                        <a:pt x="522" y="58"/>
                      </a:lnTo>
                      <a:lnTo>
                        <a:pt x="534" y="46"/>
                      </a:lnTo>
                      <a:lnTo>
                        <a:pt x="557" y="46"/>
                      </a:lnTo>
                      <a:lnTo>
                        <a:pt x="569" y="46"/>
                      </a:lnTo>
                      <a:lnTo>
                        <a:pt x="586" y="46"/>
                      </a:lnTo>
                      <a:lnTo>
                        <a:pt x="592" y="52"/>
                      </a:lnTo>
                      <a:lnTo>
                        <a:pt x="598" y="58"/>
                      </a:lnTo>
                      <a:lnTo>
                        <a:pt x="609" y="58"/>
                      </a:lnTo>
                      <a:lnTo>
                        <a:pt x="627" y="64"/>
                      </a:lnTo>
                      <a:lnTo>
                        <a:pt x="633" y="75"/>
                      </a:lnTo>
                      <a:lnTo>
                        <a:pt x="638" y="87"/>
                      </a:lnTo>
                      <a:lnTo>
                        <a:pt x="650" y="87"/>
                      </a:lnTo>
                      <a:lnTo>
                        <a:pt x="656" y="93"/>
                      </a:lnTo>
                      <a:lnTo>
                        <a:pt x="662" y="116"/>
                      </a:lnTo>
                      <a:lnTo>
                        <a:pt x="662" y="122"/>
                      </a:lnTo>
                      <a:lnTo>
                        <a:pt x="667" y="133"/>
                      </a:lnTo>
                      <a:lnTo>
                        <a:pt x="667" y="139"/>
                      </a:lnTo>
                      <a:lnTo>
                        <a:pt x="673" y="145"/>
                      </a:lnTo>
                      <a:lnTo>
                        <a:pt x="679" y="145"/>
                      </a:lnTo>
                      <a:lnTo>
                        <a:pt x="679" y="162"/>
                      </a:lnTo>
                      <a:lnTo>
                        <a:pt x="685" y="174"/>
                      </a:lnTo>
                      <a:lnTo>
                        <a:pt x="679" y="180"/>
                      </a:lnTo>
                      <a:lnTo>
                        <a:pt x="685" y="191"/>
                      </a:lnTo>
                      <a:lnTo>
                        <a:pt x="691" y="197"/>
                      </a:lnTo>
                      <a:lnTo>
                        <a:pt x="691" y="203"/>
                      </a:lnTo>
                      <a:lnTo>
                        <a:pt x="691" y="209"/>
                      </a:lnTo>
                      <a:lnTo>
                        <a:pt x="696" y="215"/>
                      </a:lnTo>
                      <a:lnTo>
                        <a:pt x="702" y="226"/>
                      </a:lnTo>
                      <a:lnTo>
                        <a:pt x="696" y="232"/>
                      </a:lnTo>
                      <a:lnTo>
                        <a:pt x="696" y="238"/>
                      </a:lnTo>
                      <a:lnTo>
                        <a:pt x="702" y="238"/>
                      </a:lnTo>
                      <a:lnTo>
                        <a:pt x="702" y="244"/>
                      </a:lnTo>
                      <a:lnTo>
                        <a:pt x="702" y="255"/>
                      </a:lnTo>
                      <a:lnTo>
                        <a:pt x="702" y="261"/>
                      </a:lnTo>
                      <a:lnTo>
                        <a:pt x="708" y="273"/>
                      </a:lnTo>
                      <a:lnTo>
                        <a:pt x="708" y="284"/>
                      </a:lnTo>
                      <a:lnTo>
                        <a:pt x="702" y="290"/>
                      </a:lnTo>
                      <a:lnTo>
                        <a:pt x="714" y="302"/>
                      </a:lnTo>
                      <a:lnTo>
                        <a:pt x="714" y="307"/>
                      </a:lnTo>
                      <a:lnTo>
                        <a:pt x="714" y="313"/>
                      </a:lnTo>
                      <a:lnTo>
                        <a:pt x="720" y="313"/>
                      </a:lnTo>
                      <a:lnTo>
                        <a:pt x="720" y="307"/>
                      </a:lnTo>
                      <a:lnTo>
                        <a:pt x="725" y="336"/>
                      </a:lnTo>
                      <a:lnTo>
                        <a:pt x="731" y="342"/>
                      </a:lnTo>
                      <a:lnTo>
                        <a:pt x="737" y="342"/>
                      </a:lnTo>
                      <a:lnTo>
                        <a:pt x="749" y="371"/>
                      </a:lnTo>
                      <a:lnTo>
                        <a:pt x="755" y="371"/>
                      </a:lnTo>
                      <a:lnTo>
                        <a:pt x="749" y="371"/>
                      </a:lnTo>
                      <a:lnTo>
                        <a:pt x="708" y="371"/>
                      </a:lnTo>
                      <a:lnTo>
                        <a:pt x="702" y="371"/>
                      </a:lnTo>
                      <a:lnTo>
                        <a:pt x="691" y="371"/>
                      </a:lnTo>
                      <a:lnTo>
                        <a:pt x="679" y="371"/>
                      </a:lnTo>
                      <a:lnTo>
                        <a:pt x="673" y="371"/>
                      </a:lnTo>
                      <a:lnTo>
                        <a:pt x="667" y="371"/>
                      </a:lnTo>
                      <a:lnTo>
                        <a:pt x="662" y="371"/>
                      </a:lnTo>
                      <a:lnTo>
                        <a:pt x="650" y="371"/>
                      </a:lnTo>
                      <a:lnTo>
                        <a:pt x="627" y="371"/>
                      </a:lnTo>
                      <a:lnTo>
                        <a:pt x="621" y="371"/>
                      </a:lnTo>
                      <a:lnTo>
                        <a:pt x="615" y="371"/>
                      </a:lnTo>
                      <a:lnTo>
                        <a:pt x="609" y="371"/>
                      </a:lnTo>
                      <a:lnTo>
                        <a:pt x="592" y="371"/>
                      </a:lnTo>
                      <a:lnTo>
                        <a:pt x="580" y="371"/>
                      </a:lnTo>
                      <a:lnTo>
                        <a:pt x="575" y="371"/>
                      </a:lnTo>
                      <a:lnTo>
                        <a:pt x="569" y="371"/>
                      </a:lnTo>
                      <a:lnTo>
                        <a:pt x="551" y="371"/>
                      </a:lnTo>
                      <a:lnTo>
                        <a:pt x="534" y="371"/>
                      </a:lnTo>
                      <a:lnTo>
                        <a:pt x="528" y="371"/>
                      </a:lnTo>
                      <a:lnTo>
                        <a:pt x="522" y="371"/>
                      </a:lnTo>
                      <a:lnTo>
                        <a:pt x="517" y="371"/>
                      </a:lnTo>
                      <a:lnTo>
                        <a:pt x="505" y="371"/>
                      </a:lnTo>
                      <a:lnTo>
                        <a:pt x="493" y="371"/>
                      </a:lnTo>
                      <a:lnTo>
                        <a:pt x="482" y="371"/>
                      </a:lnTo>
                      <a:lnTo>
                        <a:pt x="470" y="371"/>
                      </a:lnTo>
                      <a:lnTo>
                        <a:pt x="464" y="371"/>
                      </a:lnTo>
                      <a:lnTo>
                        <a:pt x="453" y="371"/>
                      </a:lnTo>
                      <a:close/>
                    </a:path>
                  </a:pathLst>
                </a:custGeom>
                <a:solidFill>
                  <a:srgbClr val="70AD47">
                    <a:lumMod val="20000"/>
                    <a:lumOff val="8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49" name="Freeform 48"/>
                <p:cNvSpPr>
                  <a:spLocks/>
                </p:cNvSpPr>
                <p:nvPr/>
              </p:nvSpPr>
              <p:spPr bwMode="auto">
                <a:xfrm>
                  <a:off x="2790825" y="1003032"/>
                  <a:ext cx="1014413" cy="672920"/>
                </a:xfrm>
                <a:custGeom>
                  <a:avLst/>
                  <a:gdLst>
                    <a:gd name="T0" fmla="*/ 581 w 639"/>
                    <a:gd name="T1" fmla="*/ 389 h 424"/>
                    <a:gd name="T2" fmla="*/ 610 w 639"/>
                    <a:gd name="T3" fmla="*/ 395 h 424"/>
                    <a:gd name="T4" fmla="*/ 621 w 639"/>
                    <a:gd name="T5" fmla="*/ 418 h 424"/>
                    <a:gd name="T6" fmla="*/ 639 w 639"/>
                    <a:gd name="T7" fmla="*/ 424 h 424"/>
                    <a:gd name="T8" fmla="*/ 633 w 639"/>
                    <a:gd name="T9" fmla="*/ 412 h 424"/>
                    <a:gd name="T10" fmla="*/ 621 w 639"/>
                    <a:gd name="T11" fmla="*/ 395 h 424"/>
                    <a:gd name="T12" fmla="*/ 633 w 639"/>
                    <a:gd name="T13" fmla="*/ 366 h 424"/>
                    <a:gd name="T14" fmla="*/ 639 w 639"/>
                    <a:gd name="T15" fmla="*/ 354 h 424"/>
                    <a:gd name="T16" fmla="*/ 633 w 639"/>
                    <a:gd name="T17" fmla="*/ 337 h 424"/>
                    <a:gd name="T18" fmla="*/ 633 w 639"/>
                    <a:gd name="T19" fmla="*/ 319 h 424"/>
                    <a:gd name="T20" fmla="*/ 633 w 639"/>
                    <a:gd name="T21" fmla="*/ 308 h 424"/>
                    <a:gd name="T22" fmla="*/ 639 w 639"/>
                    <a:gd name="T23" fmla="*/ 290 h 424"/>
                    <a:gd name="T24" fmla="*/ 639 w 639"/>
                    <a:gd name="T25" fmla="*/ 267 h 424"/>
                    <a:gd name="T26" fmla="*/ 639 w 639"/>
                    <a:gd name="T27" fmla="*/ 232 h 424"/>
                    <a:gd name="T28" fmla="*/ 639 w 639"/>
                    <a:gd name="T29" fmla="*/ 186 h 424"/>
                    <a:gd name="T30" fmla="*/ 639 w 639"/>
                    <a:gd name="T31" fmla="*/ 174 h 424"/>
                    <a:gd name="T32" fmla="*/ 639 w 639"/>
                    <a:gd name="T33" fmla="*/ 140 h 424"/>
                    <a:gd name="T34" fmla="*/ 639 w 639"/>
                    <a:gd name="T35" fmla="*/ 99 h 424"/>
                    <a:gd name="T36" fmla="*/ 627 w 639"/>
                    <a:gd name="T37" fmla="*/ 87 h 424"/>
                    <a:gd name="T38" fmla="*/ 604 w 639"/>
                    <a:gd name="T39" fmla="*/ 64 h 424"/>
                    <a:gd name="T40" fmla="*/ 627 w 639"/>
                    <a:gd name="T41" fmla="*/ 29 h 424"/>
                    <a:gd name="T42" fmla="*/ 592 w 639"/>
                    <a:gd name="T43" fmla="*/ 29 h 424"/>
                    <a:gd name="T44" fmla="*/ 558 w 639"/>
                    <a:gd name="T45" fmla="*/ 29 h 424"/>
                    <a:gd name="T46" fmla="*/ 517 w 639"/>
                    <a:gd name="T47" fmla="*/ 24 h 424"/>
                    <a:gd name="T48" fmla="*/ 488 w 639"/>
                    <a:gd name="T49" fmla="*/ 24 h 424"/>
                    <a:gd name="T50" fmla="*/ 453 w 639"/>
                    <a:gd name="T51" fmla="*/ 24 h 424"/>
                    <a:gd name="T52" fmla="*/ 418 w 639"/>
                    <a:gd name="T53" fmla="*/ 24 h 424"/>
                    <a:gd name="T54" fmla="*/ 378 w 639"/>
                    <a:gd name="T55" fmla="*/ 24 h 424"/>
                    <a:gd name="T56" fmla="*/ 354 w 639"/>
                    <a:gd name="T57" fmla="*/ 18 h 424"/>
                    <a:gd name="T58" fmla="*/ 267 w 639"/>
                    <a:gd name="T59" fmla="*/ 18 h 424"/>
                    <a:gd name="T60" fmla="*/ 198 w 639"/>
                    <a:gd name="T61" fmla="*/ 12 h 424"/>
                    <a:gd name="T62" fmla="*/ 157 w 639"/>
                    <a:gd name="T63" fmla="*/ 6 h 424"/>
                    <a:gd name="T64" fmla="*/ 116 w 639"/>
                    <a:gd name="T65" fmla="*/ 6 h 424"/>
                    <a:gd name="T66" fmla="*/ 35 w 639"/>
                    <a:gd name="T67" fmla="*/ 0 h 424"/>
                    <a:gd name="T68" fmla="*/ 29 w 639"/>
                    <a:gd name="T69" fmla="*/ 18 h 424"/>
                    <a:gd name="T70" fmla="*/ 29 w 639"/>
                    <a:gd name="T71" fmla="*/ 82 h 424"/>
                    <a:gd name="T72" fmla="*/ 18 w 639"/>
                    <a:gd name="T73" fmla="*/ 134 h 424"/>
                    <a:gd name="T74" fmla="*/ 18 w 639"/>
                    <a:gd name="T75" fmla="*/ 163 h 424"/>
                    <a:gd name="T76" fmla="*/ 12 w 639"/>
                    <a:gd name="T77" fmla="*/ 198 h 424"/>
                    <a:gd name="T78" fmla="*/ 12 w 639"/>
                    <a:gd name="T79" fmla="*/ 221 h 424"/>
                    <a:gd name="T80" fmla="*/ 12 w 639"/>
                    <a:gd name="T81" fmla="*/ 250 h 424"/>
                    <a:gd name="T82" fmla="*/ 6 w 639"/>
                    <a:gd name="T83" fmla="*/ 273 h 424"/>
                    <a:gd name="T84" fmla="*/ 6 w 639"/>
                    <a:gd name="T85" fmla="*/ 290 h 424"/>
                    <a:gd name="T86" fmla="*/ 0 w 639"/>
                    <a:gd name="T87" fmla="*/ 331 h 424"/>
                    <a:gd name="T88" fmla="*/ 47 w 639"/>
                    <a:gd name="T89" fmla="*/ 337 h 424"/>
                    <a:gd name="T90" fmla="*/ 87 w 639"/>
                    <a:gd name="T91" fmla="*/ 337 h 424"/>
                    <a:gd name="T92" fmla="*/ 105 w 639"/>
                    <a:gd name="T93" fmla="*/ 343 h 424"/>
                    <a:gd name="T94" fmla="*/ 151 w 639"/>
                    <a:gd name="T95" fmla="*/ 343 h 424"/>
                    <a:gd name="T96" fmla="*/ 192 w 639"/>
                    <a:gd name="T97" fmla="*/ 348 h 424"/>
                    <a:gd name="T98" fmla="*/ 238 w 639"/>
                    <a:gd name="T99" fmla="*/ 348 h 424"/>
                    <a:gd name="T100" fmla="*/ 296 w 639"/>
                    <a:gd name="T101" fmla="*/ 354 h 424"/>
                    <a:gd name="T102" fmla="*/ 378 w 639"/>
                    <a:gd name="T103" fmla="*/ 360 h 424"/>
                    <a:gd name="T104" fmla="*/ 465 w 639"/>
                    <a:gd name="T105" fmla="*/ 360 h 424"/>
                    <a:gd name="T106" fmla="*/ 482 w 639"/>
                    <a:gd name="T107" fmla="*/ 372 h 424"/>
                    <a:gd name="T108" fmla="*/ 494 w 639"/>
                    <a:gd name="T109" fmla="*/ 377 h 424"/>
                    <a:gd name="T110" fmla="*/ 517 w 639"/>
                    <a:gd name="T111" fmla="*/ 377 h 424"/>
                    <a:gd name="T112" fmla="*/ 552 w 639"/>
                    <a:gd name="T113" fmla="*/ 377 h 424"/>
                    <a:gd name="T114" fmla="*/ 575 w 639"/>
                    <a:gd name="T115" fmla="*/ 383 h 424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639"/>
                    <a:gd name="T175" fmla="*/ 0 h 424"/>
                    <a:gd name="T176" fmla="*/ 639 w 639"/>
                    <a:gd name="T177" fmla="*/ 424 h 424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639" h="424">
                      <a:moveTo>
                        <a:pt x="575" y="383"/>
                      </a:moveTo>
                      <a:lnTo>
                        <a:pt x="581" y="389"/>
                      </a:lnTo>
                      <a:lnTo>
                        <a:pt x="592" y="389"/>
                      </a:lnTo>
                      <a:lnTo>
                        <a:pt x="610" y="395"/>
                      </a:lnTo>
                      <a:lnTo>
                        <a:pt x="616" y="406"/>
                      </a:lnTo>
                      <a:lnTo>
                        <a:pt x="621" y="418"/>
                      </a:lnTo>
                      <a:lnTo>
                        <a:pt x="633" y="418"/>
                      </a:lnTo>
                      <a:lnTo>
                        <a:pt x="639" y="424"/>
                      </a:lnTo>
                      <a:lnTo>
                        <a:pt x="633" y="418"/>
                      </a:lnTo>
                      <a:lnTo>
                        <a:pt x="633" y="412"/>
                      </a:lnTo>
                      <a:lnTo>
                        <a:pt x="633" y="406"/>
                      </a:lnTo>
                      <a:lnTo>
                        <a:pt x="621" y="395"/>
                      </a:lnTo>
                      <a:lnTo>
                        <a:pt x="627" y="372"/>
                      </a:lnTo>
                      <a:lnTo>
                        <a:pt x="633" y="366"/>
                      </a:lnTo>
                      <a:lnTo>
                        <a:pt x="633" y="360"/>
                      </a:lnTo>
                      <a:lnTo>
                        <a:pt x="639" y="354"/>
                      </a:lnTo>
                      <a:lnTo>
                        <a:pt x="639" y="348"/>
                      </a:lnTo>
                      <a:lnTo>
                        <a:pt x="633" y="337"/>
                      </a:lnTo>
                      <a:lnTo>
                        <a:pt x="627" y="331"/>
                      </a:lnTo>
                      <a:lnTo>
                        <a:pt x="633" y="319"/>
                      </a:lnTo>
                      <a:lnTo>
                        <a:pt x="627" y="308"/>
                      </a:lnTo>
                      <a:lnTo>
                        <a:pt x="633" y="308"/>
                      </a:lnTo>
                      <a:lnTo>
                        <a:pt x="639" y="308"/>
                      </a:lnTo>
                      <a:lnTo>
                        <a:pt x="639" y="290"/>
                      </a:lnTo>
                      <a:lnTo>
                        <a:pt x="639" y="279"/>
                      </a:lnTo>
                      <a:lnTo>
                        <a:pt x="639" y="267"/>
                      </a:lnTo>
                      <a:lnTo>
                        <a:pt x="639" y="250"/>
                      </a:lnTo>
                      <a:lnTo>
                        <a:pt x="639" y="232"/>
                      </a:lnTo>
                      <a:lnTo>
                        <a:pt x="639" y="227"/>
                      </a:lnTo>
                      <a:lnTo>
                        <a:pt x="639" y="186"/>
                      </a:lnTo>
                      <a:lnTo>
                        <a:pt x="639" y="180"/>
                      </a:lnTo>
                      <a:lnTo>
                        <a:pt x="639" y="174"/>
                      </a:lnTo>
                      <a:lnTo>
                        <a:pt x="639" y="157"/>
                      </a:lnTo>
                      <a:lnTo>
                        <a:pt x="639" y="140"/>
                      </a:lnTo>
                      <a:lnTo>
                        <a:pt x="639" y="105"/>
                      </a:lnTo>
                      <a:lnTo>
                        <a:pt x="639" y="99"/>
                      </a:lnTo>
                      <a:lnTo>
                        <a:pt x="633" y="93"/>
                      </a:lnTo>
                      <a:lnTo>
                        <a:pt x="627" y="87"/>
                      </a:lnTo>
                      <a:lnTo>
                        <a:pt x="610" y="70"/>
                      </a:lnTo>
                      <a:lnTo>
                        <a:pt x="604" y="64"/>
                      </a:lnTo>
                      <a:lnTo>
                        <a:pt x="621" y="47"/>
                      </a:lnTo>
                      <a:lnTo>
                        <a:pt x="627" y="29"/>
                      </a:lnTo>
                      <a:lnTo>
                        <a:pt x="616" y="29"/>
                      </a:lnTo>
                      <a:lnTo>
                        <a:pt x="592" y="29"/>
                      </a:lnTo>
                      <a:lnTo>
                        <a:pt x="575" y="29"/>
                      </a:lnTo>
                      <a:lnTo>
                        <a:pt x="558" y="29"/>
                      </a:lnTo>
                      <a:lnTo>
                        <a:pt x="517" y="29"/>
                      </a:lnTo>
                      <a:lnTo>
                        <a:pt x="517" y="24"/>
                      </a:lnTo>
                      <a:lnTo>
                        <a:pt x="494" y="24"/>
                      </a:lnTo>
                      <a:lnTo>
                        <a:pt x="488" y="24"/>
                      </a:lnTo>
                      <a:lnTo>
                        <a:pt x="459" y="24"/>
                      </a:lnTo>
                      <a:lnTo>
                        <a:pt x="453" y="24"/>
                      </a:lnTo>
                      <a:lnTo>
                        <a:pt x="436" y="24"/>
                      </a:lnTo>
                      <a:lnTo>
                        <a:pt x="418" y="24"/>
                      </a:lnTo>
                      <a:lnTo>
                        <a:pt x="383" y="24"/>
                      </a:lnTo>
                      <a:lnTo>
                        <a:pt x="378" y="24"/>
                      </a:lnTo>
                      <a:lnTo>
                        <a:pt x="366" y="24"/>
                      </a:lnTo>
                      <a:lnTo>
                        <a:pt x="354" y="18"/>
                      </a:lnTo>
                      <a:lnTo>
                        <a:pt x="314" y="18"/>
                      </a:lnTo>
                      <a:lnTo>
                        <a:pt x="267" y="18"/>
                      </a:lnTo>
                      <a:lnTo>
                        <a:pt x="256" y="12"/>
                      </a:lnTo>
                      <a:lnTo>
                        <a:pt x="198" y="12"/>
                      </a:lnTo>
                      <a:lnTo>
                        <a:pt x="186" y="12"/>
                      </a:lnTo>
                      <a:lnTo>
                        <a:pt x="157" y="6"/>
                      </a:lnTo>
                      <a:lnTo>
                        <a:pt x="122" y="6"/>
                      </a:lnTo>
                      <a:lnTo>
                        <a:pt x="116" y="6"/>
                      </a:lnTo>
                      <a:lnTo>
                        <a:pt x="70" y="0"/>
                      </a:lnTo>
                      <a:lnTo>
                        <a:pt x="35" y="0"/>
                      </a:lnTo>
                      <a:lnTo>
                        <a:pt x="35" y="6"/>
                      </a:lnTo>
                      <a:lnTo>
                        <a:pt x="29" y="18"/>
                      </a:lnTo>
                      <a:lnTo>
                        <a:pt x="29" y="76"/>
                      </a:lnTo>
                      <a:lnTo>
                        <a:pt x="29" y="82"/>
                      </a:lnTo>
                      <a:lnTo>
                        <a:pt x="24" y="105"/>
                      </a:lnTo>
                      <a:lnTo>
                        <a:pt x="18" y="134"/>
                      </a:lnTo>
                      <a:lnTo>
                        <a:pt x="18" y="151"/>
                      </a:lnTo>
                      <a:lnTo>
                        <a:pt x="18" y="163"/>
                      </a:lnTo>
                      <a:lnTo>
                        <a:pt x="18" y="192"/>
                      </a:lnTo>
                      <a:lnTo>
                        <a:pt x="12" y="198"/>
                      </a:lnTo>
                      <a:lnTo>
                        <a:pt x="12" y="203"/>
                      </a:lnTo>
                      <a:lnTo>
                        <a:pt x="12" y="221"/>
                      </a:lnTo>
                      <a:lnTo>
                        <a:pt x="12" y="232"/>
                      </a:lnTo>
                      <a:lnTo>
                        <a:pt x="12" y="250"/>
                      </a:lnTo>
                      <a:lnTo>
                        <a:pt x="6" y="261"/>
                      </a:lnTo>
                      <a:lnTo>
                        <a:pt x="6" y="273"/>
                      </a:lnTo>
                      <a:lnTo>
                        <a:pt x="6" y="279"/>
                      </a:lnTo>
                      <a:lnTo>
                        <a:pt x="6" y="290"/>
                      </a:lnTo>
                      <a:lnTo>
                        <a:pt x="6" y="319"/>
                      </a:lnTo>
                      <a:lnTo>
                        <a:pt x="0" y="331"/>
                      </a:lnTo>
                      <a:lnTo>
                        <a:pt x="6" y="331"/>
                      </a:lnTo>
                      <a:lnTo>
                        <a:pt x="47" y="337"/>
                      </a:lnTo>
                      <a:lnTo>
                        <a:pt x="70" y="337"/>
                      </a:lnTo>
                      <a:lnTo>
                        <a:pt x="87" y="337"/>
                      </a:lnTo>
                      <a:lnTo>
                        <a:pt x="99" y="343"/>
                      </a:lnTo>
                      <a:lnTo>
                        <a:pt x="105" y="343"/>
                      </a:lnTo>
                      <a:lnTo>
                        <a:pt x="134" y="343"/>
                      </a:lnTo>
                      <a:lnTo>
                        <a:pt x="151" y="343"/>
                      </a:lnTo>
                      <a:lnTo>
                        <a:pt x="169" y="343"/>
                      </a:lnTo>
                      <a:lnTo>
                        <a:pt x="192" y="348"/>
                      </a:lnTo>
                      <a:lnTo>
                        <a:pt x="198" y="348"/>
                      </a:lnTo>
                      <a:lnTo>
                        <a:pt x="238" y="348"/>
                      </a:lnTo>
                      <a:lnTo>
                        <a:pt x="273" y="354"/>
                      </a:lnTo>
                      <a:lnTo>
                        <a:pt x="296" y="354"/>
                      </a:lnTo>
                      <a:lnTo>
                        <a:pt x="325" y="354"/>
                      </a:lnTo>
                      <a:lnTo>
                        <a:pt x="378" y="360"/>
                      </a:lnTo>
                      <a:lnTo>
                        <a:pt x="401" y="360"/>
                      </a:lnTo>
                      <a:lnTo>
                        <a:pt x="465" y="360"/>
                      </a:lnTo>
                      <a:lnTo>
                        <a:pt x="476" y="372"/>
                      </a:lnTo>
                      <a:lnTo>
                        <a:pt x="482" y="372"/>
                      </a:lnTo>
                      <a:lnTo>
                        <a:pt x="488" y="377"/>
                      </a:lnTo>
                      <a:lnTo>
                        <a:pt x="494" y="377"/>
                      </a:lnTo>
                      <a:lnTo>
                        <a:pt x="505" y="389"/>
                      </a:lnTo>
                      <a:lnTo>
                        <a:pt x="517" y="377"/>
                      </a:lnTo>
                      <a:lnTo>
                        <a:pt x="540" y="377"/>
                      </a:lnTo>
                      <a:lnTo>
                        <a:pt x="552" y="377"/>
                      </a:lnTo>
                      <a:lnTo>
                        <a:pt x="569" y="377"/>
                      </a:lnTo>
                      <a:lnTo>
                        <a:pt x="575" y="383"/>
                      </a:lnTo>
                      <a:close/>
                    </a:path>
                  </a:pathLst>
                </a:custGeom>
                <a:solidFill>
                  <a:srgbClr val="70AD47">
                    <a:lumMod val="20000"/>
                    <a:lumOff val="8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50" name="Freeform 49"/>
                <p:cNvSpPr>
                  <a:spLocks/>
                </p:cNvSpPr>
                <p:nvPr/>
              </p:nvSpPr>
              <p:spPr bwMode="auto">
                <a:xfrm>
                  <a:off x="4256089" y="847498"/>
                  <a:ext cx="608013" cy="696567"/>
                </a:xfrm>
                <a:custGeom>
                  <a:avLst/>
                  <a:gdLst>
                    <a:gd name="T0" fmla="*/ 348 w 476"/>
                    <a:gd name="T1" fmla="*/ 493 h 504"/>
                    <a:gd name="T2" fmla="*/ 308 w 476"/>
                    <a:gd name="T3" fmla="*/ 499 h 504"/>
                    <a:gd name="T4" fmla="*/ 273 w 476"/>
                    <a:gd name="T5" fmla="*/ 499 h 504"/>
                    <a:gd name="T6" fmla="*/ 250 w 476"/>
                    <a:gd name="T7" fmla="*/ 499 h 504"/>
                    <a:gd name="T8" fmla="*/ 215 w 476"/>
                    <a:gd name="T9" fmla="*/ 504 h 504"/>
                    <a:gd name="T10" fmla="*/ 198 w 476"/>
                    <a:gd name="T11" fmla="*/ 493 h 504"/>
                    <a:gd name="T12" fmla="*/ 169 w 476"/>
                    <a:gd name="T13" fmla="*/ 475 h 504"/>
                    <a:gd name="T14" fmla="*/ 157 w 476"/>
                    <a:gd name="T15" fmla="*/ 441 h 504"/>
                    <a:gd name="T16" fmla="*/ 151 w 476"/>
                    <a:gd name="T17" fmla="*/ 400 h 504"/>
                    <a:gd name="T18" fmla="*/ 145 w 476"/>
                    <a:gd name="T19" fmla="*/ 365 h 504"/>
                    <a:gd name="T20" fmla="*/ 134 w 476"/>
                    <a:gd name="T21" fmla="*/ 342 h 504"/>
                    <a:gd name="T22" fmla="*/ 116 w 476"/>
                    <a:gd name="T23" fmla="*/ 336 h 504"/>
                    <a:gd name="T24" fmla="*/ 93 w 476"/>
                    <a:gd name="T25" fmla="*/ 319 h 504"/>
                    <a:gd name="T26" fmla="*/ 70 w 476"/>
                    <a:gd name="T27" fmla="*/ 296 h 504"/>
                    <a:gd name="T28" fmla="*/ 52 w 476"/>
                    <a:gd name="T29" fmla="*/ 284 h 504"/>
                    <a:gd name="T30" fmla="*/ 18 w 476"/>
                    <a:gd name="T31" fmla="*/ 261 h 504"/>
                    <a:gd name="T32" fmla="*/ 12 w 476"/>
                    <a:gd name="T33" fmla="*/ 226 h 504"/>
                    <a:gd name="T34" fmla="*/ 12 w 476"/>
                    <a:gd name="T35" fmla="*/ 197 h 504"/>
                    <a:gd name="T36" fmla="*/ 0 w 476"/>
                    <a:gd name="T37" fmla="*/ 156 h 504"/>
                    <a:gd name="T38" fmla="*/ 47 w 476"/>
                    <a:gd name="T39" fmla="*/ 104 h 504"/>
                    <a:gd name="T40" fmla="*/ 47 w 476"/>
                    <a:gd name="T41" fmla="*/ 58 h 504"/>
                    <a:gd name="T42" fmla="*/ 47 w 476"/>
                    <a:gd name="T43" fmla="*/ 40 h 504"/>
                    <a:gd name="T44" fmla="*/ 64 w 476"/>
                    <a:gd name="T45" fmla="*/ 34 h 504"/>
                    <a:gd name="T46" fmla="*/ 116 w 476"/>
                    <a:gd name="T47" fmla="*/ 17 h 504"/>
                    <a:gd name="T48" fmla="*/ 151 w 476"/>
                    <a:gd name="T49" fmla="*/ 0 h 504"/>
                    <a:gd name="T50" fmla="*/ 157 w 476"/>
                    <a:gd name="T51" fmla="*/ 29 h 504"/>
                    <a:gd name="T52" fmla="*/ 163 w 476"/>
                    <a:gd name="T53" fmla="*/ 34 h 504"/>
                    <a:gd name="T54" fmla="*/ 186 w 476"/>
                    <a:gd name="T55" fmla="*/ 40 h 504"/>
                    <a:gd name="T56" fmla="*/ 215 w 476"/>
                    <a:gd name="T57" fmla="*/ 63 h 504"/>
                    <a:gd name="T58" fmla="*/ 302 w 476"/>
                    <a:gd name="T59" fmla="*/ 81 h 504"/>
                    <a:gd name="T60" fmla="*/ 319 w 476"/>
                    <a:gd name="T61" fmla="*/ 92 h 504"/>
                    <a:gd name="T62" fmla="*/ 337 w 476"/>
                    <a:gd name="T63" fmla="*/ 98 h 504"/>
                    <a:gd name="T64" fmla="*/ 377 w 476"/>
                    <a:gd name="T65" fmla="*/ 98 h 504"/>
                    <a:gd name="T66" fmla="*/ 383 w 476"/>
                    <a:gd name="T67" fmla="*/ 116 h 504"/>
                    <a:gd name="T68" fmla="*/ 401 w 476"/>
                    <a:gd name="T69" fmla="*/ 122 h 504"/>
                    <a:gd name="T70" fmla="*/ 430 w 476"/>
                    <a:gd name="T71" fmla="*/ 197 h 504"/>
                    <a:gd name="T72" fmla="*/ 406 w 476"/>
                    <a:gd name="T73" fmla="*/ 232 h 504"/>
                    <a:gd name="T74" fmla="*/ 412 w 476"/>
                    <a:gd name="T75" fmla="*/ 249 h 504"/>
                    <a:gd name="T76" fmla="*/ 424 w 476"/>
                    <a:gd name="T77" fmla="*/ 232 h 504"/>
                    <a:gd name="T78" fmla="*/ 459 w 476"/>
                    <a:gd name="T79" fmla="*/ 185 h 504"/>
                    <a:gd name="T80" fmla="*/ 476 w 476"/>
                    <a:gd name="T81" fmla="*/ 162 h 504"/>
                    <a:gd name="T82" fmla="*/ 447 w 476"/>
                    <a:gd name="T83" fmla="*/ 255 h 504"/>
                    <a:gd name="T84" fmla="*/ 436 w 476"/>
                    <a:gd name="T85" fmla="*/ 313 h 504"/>
                    <a:gd name="T86" fmla="*/ 436 w 476"/>
                    <a:gd name="T87" fmla="*/ 359 h 504"/>
                    <a:gd name="T88" fmla="*/ 424 w 476"/>
                    <a:gd name="T89" fmla="*/ 388 h 504"/>
                    <a:gd name="T90" fmla="*/ 424 w 476"/>
                    <a:gd name="T91" fmla="*/ 417 h 504"/>
                    <a:gd name="T92" fmla="*/ 441 w 476"/>
                    <a:gd name="T93" fmla="*/ 458 h 504"/>
                    <a:gd name="T94" fmla="*/ 441 w 476"/>
                    <a:gd name="T95" fmla="*/ 487 h 504"/>
                    <a:gd name="T96" fmla="*/ 406 w 476"/>
                    <a:gd name="T97" fmla="*/ 487 h 504"/>
                    <a:gd name="T98" fmla="*/ 372 w 476"/>
                    <a:gd name="T99" fmla="*/ 493 h 504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476"/>
                    <a:gd name="T151" fmla="*/ 0 h 504"/>
                    <a:gd name="T152" fmla="*/ 476 w 476"/>
                    <a:gd name="T153" fmla="*/ 504 h 504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476" h="504">
                      <a:moveTo>
                        <a:pt x="360" y="493"/>
                      </a:moveTo>
                      <a:lnTo>
                        <a:pt x="354" y="493"/>
                      </a:lnTo>
                      <a:lnTo>
                        <a:pt x="348" y="493"/>
                      </a:lnTo>
                      <a:lnTo>
                        <a:pt x="337" y="493"/>
                      </a:lnTo>
                      <a:lnTo>
                        <a:pt x="319" y="499"/>
                      </a:lnTo>
                      <a:lnTo>
                        <a:pt x="308" y="499"/>
                      </a:lnTo>
                      <a:lnTo>
                        <a:pt x="296" y="499"/>
                      </a:lnTo>
                      <a:lnTo>
                        <a:pt x="290" y="499"/>
                      </a:lnTo>
                      <a:lnTo>
                        <a:pt x="273" y="499"/>
                      </a:lnTo>
                      <a:lnTo>
                        <a:pt x="267" y="499"/>
                      </a:lnTo>
                      <a:lnTo>
                        <a:pt x="261" y="499"/>
                      </a:lnTo>
                      <a:lnTo>
                        <a:pt x="250" y="499"/>
                      </a:lnTo>
                      <a:lnTo>
                        <a:pt x="244" y="499"/>
                      </a:lnTo>
                      <a:lnTo>
                        <a:pt x="221" y="504"/>
                      </a:lnTo>
                      <a:lnTo>
                        <a:pt x="215" y="504"/>
                      </a:lnTo>
                      <a:lnTo>
                        <a:pt x="209" y="504"/>
                      </a:lnTo>
                      <a:lnTo>
                        <a:pt x="203" y="504"/>
                      </a:lnTo>
                      <a:lnTo>
                        <a:pt x="198" y="493"/>
                      </a:lnTo>
                      <a:lnTo>
                        <a:pt x="192" y="487"/>
                      </a:lnTo>
                      <a:lnTo>
                        <a:pt x="180" y="487"/>
                      </a:lnTo>
                      <a:lnTo>
                        <a:pt x="169" y="475"/>
                      </a:lnTo>
                      <a:lnTo>
                        <a:pt x="163" y="464"/>
                      </a:lnTo>
                      <a:lnTo>
                        <a:pt x="157" y="452"/>
                      </a:lnTo>
                      <a:lnTo>
                        <a:pt x="157" y="441"/>
                      </a:lnTo>
                      <a:lnTo>
                        <a:pt x="163" y="423"/>
                      </a:lnTo>
                      <a:lnTo>
                        <a:pt x="151" y="406"/>
                      </a:lnTo>
                      <a:lnTo>
                        <a:pt x="151" y="400"/>
                      </a:lnTo>
                      <a:lnTo>
                        <a:pt x="151" y="394"/>
                      </a:lnTo>
                      <a:lnTo>
                        <a:pt x="145" y="383"/>
                      </a:lnTo>
                      <a:lnTo>
                        <a:pt x="145" y="365"/>
                      </a:lnTo>
                      <a:lnTo>
                        <a:pt x="145" y="359"/>
                      </a:lnTo>
                      <a:lnTo>
                        <a:pt x="140" y="354"/>
                      </a:lnTo>
                      <a:lnTo>
                        <a:pt x="134" y="342"/>
                      </a:lnTo>
                      <a:lnTo>
                        <a:pt x="128" y="336"/>
                      </a:lnTo>
                      <a:lnTo>
                        <a:pt x="122" y="336"/>
                      </a:lnTo>
                      <a:lnTo>
                        <a:pt x="116" y="336"/>
                      </a:lnTo>
                      <a:lnTo>
                        <a:pt x="110" y="330"/>
                      </a:lnTo>
                      <a:lnTo>
                        <a:pt x="105" y="325"/>
                      </a:lnTo>
                      <a:lnTo>
                        <a:pt x="93" y="319"/>
                      </a:lnTo>
                      <a:lnTo>
                        <a:pt x="87" y="313"/>
                      </a:lnTo>
                      <a:lnTo>
                        <a:pt x="81" y="296"/>
                      </a:lnTo>
                      <a:lnTo>
                        <a:pt x="70" y="296"/>
                      </a:lnTo>
                      <a:lnTo>
                        <a:pt x="70" y="290"/>
                      </a:lnTo>
                      <a:lnTo>
                        <a:pt x="58" y="290"/>
                      </a:lnTo>
                      <a:lnTo>
                        <a:pt x="52" y="284"/>
                      </a:lnTo>
                      <a:lnTo>
                        <a:pt x="52" y="278"/>
                      </a:lnTo>
                      <a:lnTo>
                        <a:pt x="35" y="278"/>
                      </a:lnTo>
                      <a:lnTo>
                        <a:pt x="18" y="261"/>
                      </a:lnTo>
                      <a:lnTo>
                        <a:pt x="12" y="255"/>
                      </a:lnTo>
                      <a:lnTo>
                        <a:pt x="12" y="243"/>
                      </a:lnTo>
                      <a:lnTo>
                        <a:pt x="12" y="226"/>
                      </a:lnTo>
                      <a:lnTo>
                        <a:pt x="18" y="214"/>
                      </a:lnTo>
                      <a:lnTo>
                        <a:pt x="12" y="203"/>
                      </a:lnTo>
                      <a:lnTo>
                        <a:pt x="12" y="197"/>
                      </a:lnTo>
                      <a:lnTo>
                        <a:pt x="18" y="174"/>
                      </a:lnTo>
                      <a:lnTo>
                        <a:pt x="12" y="162"/>
                      </a:lnTo>
                      <a:lnTo>
                        <a:pt x="0" y="156"/>
                      </a:lnTo>
                      <a:lnTo>
                        <a:pt x="6" y="145"/>
                      </a:lnTo>
                      <a:lnTo>
                        <a:pt x="12" y="133"/>
                      </a:lnTo>
                      <a:lnTo>
                        <a:pt x="47" y="104"/>
                      </a:lnTo>
                      <a:lnTo>
                        <a:pt x="47" y="92"/>
                      </a:lnTo>
                      <a:lnTo>
                        <a:pt x="47" y="63"/>
                      </a:lnTo>
                      <a:lnTo>
                        <a:pt x="47" y="58"/>
                      </a:lnTo>
                      <a:lnTo>
                        <a:pt x="47" y="40"/>
                      </a:lnTo>
                      <a:lnTo>
                        <a:pt x="47" y="34"/>
                      </a:lnTo>
                      <a:lnTo>
                        <a:pt x="47" y="40"/>
                      </a:lnTo>
                      <a:lnTo>
                        <a:pt x="58" y="29"/>
                      </a:lnTo>
                      <a:lnTo>
                        <a:pt x="64" y="29"/>
                      </a:lnTo>
                      <a:lnTo>
                        <a:pt x="64" y="34"/>
                      </a:lnTo>
                      <a:lnTo>
                        <a:pt x="81" y="34"/>
                      </a:lnTo>
                      <a:lnTo>
                        <a:pt x="99" y="23"/>
                      </a:lnTo>
                      <a:lnTo>
                        <a:pt x="116" y="17"/>
                      </a:lnTo>
                      <a:lnTo>
                        <a:pt x="128" y="11"/>
                      </a:lnTo>
                      <a:lnTo>
                        <a:pt x="134" y="11"/>
                      </a:lnTo>
                      <a:lnTo>
                        <a:pt x="151" y="0"/>
                      </a:lnTo>
                      <a:lnTo>
                        <a:pt x="163" y="5"/>
                      </a:lnTo>
                      <a:lnTo>
                        <a:pt x="157" y="23"/>
                      </a:lnTo>
                      <a:lnTo>
                        <a:pt x="157" y="29"/>
                      </a:lnTo>
                      <a:lnTo>
                        <a:pt x="151" y="34"/>
                      </a:lnTo>
                      <a:lnTo>
                        <a:pt x="151" y="40"/>
                      </a:lnTo>
                      <a:lnTo>
                        <a:pt x="163" y="34"/>
                      </a:lnTo>
                      <a:lnTo>
                        <a:pt x="163" y="29"/>
                      </a:lnTo>
                      <a:lnTo>
                        <a:pt x="180" y="40"/>
                      </a:lnTo>
                      <a:lnTo>
                        <a:pt x="186" y="40"/>
                      </a:lnTo>
                      <a:lnTo>
                        <a:pt x="192" y="40"/>
                      </a:lnTo>
                      <a:lnTo>
                        <a:pt x="209" y="46"/>
                      </a:lnTo>
                      <a:lnTo>
                        <a:pt x="215" y="63"/>
                      </a:lnTo>
                      <a:lnTo>
                        <a:pt x="232" y="69"/>
                      </a:lnTo>
                      <a:lnTo>
                        <a:pt x="238" y="69"/>
                      </a:lnTo>
                      <a:lnTo>
                        <a:pt x="302" y="81"/>
                      </a:lnTo>
                      <a:lnTo>
                        <a:pt x="308" y="87"/>
                      </a:lnTo>
                      <a:lnTo>
                        <a:pt x="314" y="87"/>
                      </a:lnTo>
                      <a:lnTo>
                        <a:pt x="319" y="92"/>
                      </a:lnTo>
                      <a:lnTo>
                        <a:pt x="331" y="92"/>
                      </a:lnTo>
                      <a:lnTo>
                        <a:pt x="337" y="92"/>
                      </a:lnTo>
                      <a:lnTo>
                        <a:pt x="337" y="98"/>
                      </a:lnTo>
                      <a:lnTo>
                        <a:pt x="348" y="92"/>
                      </a:lnTo>
                      <a:lnTo>
                        <a:pt x="372" y="98"/>
                      </a:lnTo>
                      <a:lnTo>
                        <a:pt x="377" y="98"/>
                      </a:lnTo>
                      <a:lnTo>
                        <a:pt x="383" y="104"/>
                      </a:lnTo>
                      <a:lnTo>
                        <a:pt x="383" y="110"/>
                      </a:lnTo>
                      <a:lnTo>
                        <a:pt x="383" y="116"/>
                      </a:lnTo>
                      <a:lnTo>
                        <a:pt x="389" y="116"/>
                      </a:lnTo>
                      <a:lnTo>
                        <a:pt x="401" y="116"/>
                      </a:lnTo>
                      <a:lnTo>
                        <a:pt x="401" y="122"/>
                      </a:lnTo>
                      <a:lnTo>
                        <a:pt x="424" y="185"/>
                      </a:lnTo>
                      <a:lnTo>
                        <a:pt x="430" y="191"/>
                      </a:lnTo>
                      <a:lnTo>
                        <a:pt x="430" y="197"/>
                      </a:lnTo>
                      <a:lnTo>
                        <a:pt x="430" y="203"/>
                      </a:lnTo>
                      <a:lnTo>
                        <a:pt x="418" y="203"/>
                      </a:lnTo>
                      <a:lnTo>
                        <a:pt x="406" y="232"/>
                      </a:lnTo>
                      <a:lnTo>
                        <a:pt x="401" y="238"/>
                      </a:lnTo>
                      <a:lnTo>
                        <a:pt x="401" y="249"/>
                      </a:lnTo>
                      <a:lnTo>
                        <a:pt x="412" y="249"/>
                      </a:lnTo>
                      <a:lnTo>
                        <a:pt x="424" y="243"/>
                      </a:lnTo>
                      <a:lnTo>
                        <a:pt x="424" y="238"/>
                      </a:lnTo>
                      <a:lnTo>
                        <a:pt x="424" y="232"/>
                      </a:lnTo>
                      <a:lnTo>
                        <a:pt x="441" y="214"/>
                      </a:lnTo>
                      <a:lnTo>
                        <a:pt x="459" y="191"/>
                      </a:lnTo>
                      <a:lnTo>
                        <a:pt x="459" y="185"/>
                      </a:lnTo>
                      <a:lnTo>
                        <a:pt x="465" y="174"/>
                      </a:lnTo>
                      <a:lnTo>
                        <a:pt x="470" y="168"/>
                      </a:lnTo>
                      <a:lnTo>
                        <a:pt x="476" y="162"/>
                      </a:lnTo>
                      <a:lnTo>
                        <a:pt x="476" y="168"/>
                      </a:lnTo>
                      <a:lnTo>
                        <a:pt x="453" y="238"/>
                      </a:lnTo>
                      <a:lnTo>
                        <a:pt x="447" y="255"/>
                      </a:lnTo>
                      <a:lnTo>
                        <a:pt x="441" y="278"/>
                      </a:lnTo>
                      <a:lnTo>
                        <a:pt x="447" y="284"/>
                      </a:lnTo>
                      <a:lnTo>
                        <a:pt x="436" y="313"/>
                      </a:lnTo>
                      <a:lnTo>
                        <a:pt x="430" y="325"/>
                      </a:lnTo>
                      <a:lnTo>
                        <a:pt x="436" y="342"/>
                      </a:lnTo>
                      <a:lnTo>
                        <a:pt x="436" y="359"/>
                      </a:lnTo>
                      <a:lnTo>
                        <a:pt x="430" y="365"/>
                      </a:lnTo>
                      <a:lnTo>
                        <a:pt x="430" y="371"/>
                      </a:lnTo>
                      <a:lnTo>
                        <a:pt x="424" y="388"/>
                      </a:lnTo>
                      <a:lnTo>
                        <a:pt x="424" y="400"/>
                      </a:lnTo>
                      <a:lnTo>
                        <a:pt x="424" y="406"/>
                      </a:lnTo>
                      <a:lnTo>
                        <a:pt x="424" y="417"/>
                      </a:lnTo>
                      <a:lnTo>
                        <a:pt x="430" y="429"/>
                      </a:lnTo>
                      <a:lnTo>
                        <a:pt x="436" y="446"/>
                      </a:lnTo>
                      <a:lnTo>
                        <a:pt x="441" y="458"/>
                      </a:lnTo>
                      <a:lnTo>
                        <a:pt x="441" y="464"/>
                      </a:lnTo>
                      <a:lnTo>
                        <a:pt x="441" y="470"/>
                      </a:lnTo>
                      <a:lnTo>
                        <a:pt x="441" y="487"/>
                      </a:lnTo>
                      <a:lnTo>
                        <a:pt x="424" y="487"/>
                      </a:lnTo>
                      <a:lnTo>
                        <a:pt x="412" y="487"/>
                      </a:lnTo>
                      <a:lnTo>
                        <a:pt x="406" y="487"/>
                      </a:lnTo>
                      <a:lnTo>
                        <a:pt x="401" y="487"/>
                      </a:lnTo>
                      <a:lnTo>
                        <a:pt x="401" y="493"/>
                      </a:lnTo>
                      <a:lnTo>
                        <a:pt x="372" y="493"/>
                      </a:lnTo>
                      <a:lnTo>
                        <a:pt x="366" y="493"/>
                      </a:lnTo>
                      <a:lnTo>
                        <a:pt x="360" y="493"/>
                      </a:lnTo>
                      <a:close/>
                    </a:path>
                  </a:pathLst>
                </a:custGeom>
                <a:solidFill>
                  <a:srgbClr val="70AD47">
                    <a:lumMod val="20000"/>
                    <a:lumOff val="8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51" name="Freeform 50"/>
                <p:cNvSpPr>
                  <a:spLocks/>
                </p:cNvSpPr>
                <p:nvPr/>
              </p:nvSpPr>
              <p:spPr bwMode="auto">
                <a:xfrm>
                  <a:off x="2072441" y="3015601"/>
                  <a:ext cx="2035175" cy="1979084"/>
                </a:xfrm>
                <a:custGeom>
                  <a:avLst/>
                  <a:gdLst>
                    <a:gd name="T0" fmla="*/ 603 w 1282"/>
                    <a:gd name="T1" fmla="*/ 963 h 1247"/>
                    <a:gd name="T2" fmla="*/ 557 w 1282"/>
                    <a:gd name="T3" fmla="*/ 853 h 1247"/>
                    <a:gd name="T4" fmla="*/ 511 w 1282"/>
                    <a:gd name="T5" fmla="*/ 807 h 1247"/>
                    <a:gd name="T6" fmla="*/ 435 w 1282"/>
                    <a:gd name="T7" fmla="*/ 772 h 1247"/>
                    <a:gd name="T8" fmla="*/ 354 w 1282"/>
                    <a:gd name="T9" fmla="*/ 789 h 1247"/>
                    <a:gd name="T10" fmla="*/ 273 w 1282"/>
                    <a:gd name="T11" fmla="*/ 836 h 1247"/>
                    <a:gd name="T12" fmla="*/ 203 w 1282"/>
                    <a:gd name="T13" fmla="*/ 789 h 1247"/>
                    <a:gd name="T14" fmla="*/ 145 w 1282"/>
                    <a:gd name="T15" fmla="*/ 650 h 1247"/>
                    <a:gd name="T16" fmla="*/ 52 w 1282"/>
                    <a:gd name="T17" fmla="*/ 551 h 1247"/>
                    <a:gd name="T18" fmla="*/ 6 w 1282"/>
                    <a:gd name="T19" fmla="*/ 499 h 1247"/>
                    <a:gd name="T20" fmla="*/ 52 w 1282"/>
                    <a:gd name="T21" fmla="*/ 482 h 1247"/>
                    <a:gd name="T22" fmla="*/ 174 w 1282"/>
                    <a:gd name="T23" fmla="*/ 493 h 1247"/>
                    <a:gd name="T24" fmla="*/ 278 w 1282"/>
                    <a:gd name="T25" fmla="*/ 505 h 1247"/>
                    <a:gd name="T26" fmla="*/ 342 w 1282"/>
                    <a:gd name="T27" fmla="*/ 511 h 1247"/>
                    <a:gd name="T28" fmla="*/ 354 w 1282"/>
                    <a:gd name="T29" fmla="*/ 453 h 1247"/>
                    <a:gd name="T30" fmla="*/ 360 w 1282"/>
                    <a:gd name="T31" fmla="*/ 354 h 1247"/>
                    <a:gd name="T32" fmla="*/ 365 w 1282"/>
                    <a:gd name="T33" fmla="*/ 302 h 1247"/>
                    <a:gd name="T34" fmla="*/ 371 w 1282"/>
                    <a:gd name="T35" fmla="*/ 232 h 1247"/>
                    <a:gd name="T36" fmla="*/ 377 w 1282"/>
                    <a:gd name="T37" fmla="*/ 174 h 1247"/>
                    <a:gd name="T38" fmla="*/ 383 w 1282"/>
                    <a:gd name="T39" fmla="*/ 128 h 1247"/>
                    <a:gd name="T40" fmla="*/ 429 w 1282"/>
                    <a:gd name="T41" fmla="*/ 0 h 1247"/>
                    <a:gd name="T42" fmla="*/ 499 w 1282"/>
                    <a:gd name="T43" fmla="*/ 6 h 1247"/>
                    <a:gd name="T44" fmla="*/ 580 w 1282"/>
                    <a:gd name="T45" fmla="*/ 12 h 1247"/>
                    <a:gd name="T46" fmla="*/ 638 w 1282"/>
                    <a:gd name="T47" fmla="*/ 12 h 1247"/>
                    <a:gd name="T48" fmla="*/ 667 w 1282"/>
                    <a:gd name="T49" fmla="*/ 81 h 1247"/>
                    <a:gd name="T50" fmla="*/ 667 w 1282"/>
                    <a:gd name="T51" fmla="*/ 128 h 1247"/>
                    <a:gd name="T52" fmla="*/ 667 w 1282"/>
                    <a:gd name="T53" fmla="*/ 163 h 1247"/>
                    <a:gd name="T54" fmla="*/ 661 w 1282"/>
                    <a:gd name="T55" fmla="*/ 215 h 1247"/>
                    <a:gd name="T56" fmla="*/ 708 w 1282"/>
                    <a:gd name="T57" fmla="*/ 255 h 1247"/>
                    <a:gd name="T58" fmla="*/ 748 w 1282"/>
                    <a:gd name="T59" fmla="*/ 279 h 1247"/>
                    <a:gd name="T60" fmla="*/ 801 w 1282"/>
                    <a:gd name="T61" fmla="*/ 296 h 1247"/>
                    <a:gd name="T62" fmla="*/ 841 w 1282"/>
                    <a:gd name="T63" fmla="*/ 290 h 1247"/>
                    <a:gd name="T64" fmla="*/ 882 w 1282"/>
                    <a:gd name="T65" fmla="*/ 313 h 1247"/>
                    <a:gd name="T66" fmla="*/ 928 w 1282"/>
                    <a:gd name="T67" fmla="*/ 337 h 1247"/>
                    <a:gd name="T68" fmla="*/ 986 w 1282"/>
                    <a:gd name="T69" fmla="*/ 319 h 1247"/>
                    <a:gd name="T70" fmla="*/ 1015 w 1282"/>
                    <a:gd name="T71" fmla="*/ 337 h 1247"/>
                    <a:gd name="T72" fmla="*/ 1079 w 1282"/>
                    <a:gd name="T73" fmla="*/ 319 h 1247"/>
                    <a:gd name="T74" fmla="*/ 1108 w 1282"/>
                    <a:gd name="T75" fmla="*/ 325 h 1247"/>
                    <a:gd name="T76" fmla="*/ 1137 w 1282"/>
                    <a:gd name="T77" fmla="*/ 325 h 1247"/>
                    <a:gd name="T78" fmla="*/ 1172 w 1282"/>
                    <a:gd name="T79" fmla="*/ 342 h 1247"/>
                    <a:gd name="T80" fmla="*/ 1230 w 1282"/>
                    <a:gd name="T81" fmla="*/ 360 h 1247"/>
                    <a:gd name="T82" fmla="*/ 1230 w 1282"/>
                    <a:gd name="T83" fmla="*/ 418 h 1247"/>
                    <a:gd name="T84" fmla="*/ 1230 w 1282"/>
                    <a:gd name="T85" fmla="*/ 464 h 1247"/>
                    <a:gd name="T86" fmla="*/ 1230 w 1282"/>
                    <a:gd name="T87" fmla="*/ 534 h 1247"/>
                    <a:gd name="T88" fmla="*/ 1265 w 1282"/>
                    <a:gd name="T89" fmla="*/ 592 h 1247"/>
                    <a:gd name="T90" fmla="*/ 1282 w 1282"/>
                    <a:gd name="T91" fmla="*/ 667 h 1247"/>
                    <a:gd name="T92" fmla="*/ 1271 w 1282"/>
                    <a:gd name="T93" fmla="*/ 737 h 1247"/>
                    <a:gd name="T94" fmla="*/ 1253 w 1282"/>
                    <a:gd name="T95" fmla="*/ 783 h 1247"/>
                    <a:gd name="T96" fmla="*/ 1207 w 1282"/>
                    <a:gd name="T97" fmla="*/ 818 h 1247"/>
                    <a:gd name="T98" fmla="*/ 1190 w 1282"/>
                    <a:gd name="T99" fmla="*/ 818 h 1247"/>
                    <a:gd name="T100" fmla="*/ 1155 w 1282"/>
                    <a:gd name="T101" fmla="*/ 807 h 1247"/>
                    <a:gd name="T102" fmla="*/ 1137 w 1282"/>
                    <a:gd name="T103" fmla="*/ 818 h 1247"/>
                    <a:gd name="T104" fmla="*/ 1132 w 1282"/>
                    <a:gd name="T105" fmla="*/ 876 h 1247"/>
                    <a:gd name="T106" fmla="*/ 998 w 1282"/>
                    <a:gd name="T107" fmla="*/ 957 h 1247"/>
                    <a:gd name="T108" fmla="*/ 934 w 1282"/>
                    <a:gd name="T109" fmla="*/ 1021 h 1247"/>
                    <a:gd name="T110" fmla="*/ 905 w 1282"/>
                    <a:gd name="T111" fmla="*/ 1166 h 1247"/>
                    <a:gd name="T112" fmla="*/ 870 w 1282"/>
                    <a:gd name="T113" fmla="*/ 1236 h 1247"/>
                    <a:gd name="T114" fmla="*/ 766 w 1282"/>
                    <a:gd name="T115" fmla="*/ 1201 h 1247"/>
                    <a:gd name="T116" fmla="*/ 708 w 1282"/>
                    <a:gd name="T117" fmla="*/ 1160 h 1247"/>
                    <a:gd name="T118" fmla="*/ 661 w 1282"/>
                    <a:gd name="T119" fmla="*/ 1033 h 1247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1282"/>
                    <a:gd name="T181" fmla="*/ 0 h 1247"/>
                    <a:gd name="T182" fmla="*/ 1282 w 1282"/>
                    <a:gd name="T183" fmla="*/ 1247 h 1247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1282" h="1247">
                      <a:moveTo>
                        <a:pt x="650" y="1021"/>
                      </a:moveTo>
                      <a:lnTo>
                        <a:pt x="638" y="1010"/>
                      </a:lnTo>
                      <a:lnTo>
                        <a:pt x="627" y="992"/>
                      </a:lnTo>
                      <a:lnTo>
                        <a:pt x="603" y="969"/>
                      </a:lnTo>
                      <a:lnTo>
                        <a:pt x="603" y="963"/>
                      </a:lnTo>
                      <a:lnTo>
                        <a:pt x="592" y="934"/>
                      </a:lnTo>
                      <a:lnTo>
                        <a:pt x="598" y="934"/>
                      </a:lnTo>
                      <a:lnTo>
                        <a:pt x="569" y="882"/>
                      </a:lnTo>
                      <a:lnTo>
                        <a:pt x="563" y="865"/>
                      </a:lnTo>
                      <a:lnTo>
                        <a:pt x="557" y="853"/>
                      </a:lnTo>
                      <a:lnTo>
                        <a:pt x="551" y="841"/>
                      </a:lnTo>
                      <a:lnTo>
                        <a:pt x="534" y="830"/>
                      </a:lnTo>
                      <a:lnTo>
                        <a:pt x="528" y="818"/>
                      </a:lnTo>
                      <a:lnTo>
                        <a:pt x="516" y="812"/>
                      </a:lnTo>
                      <a:lnTo>
                        <a:pt x="511" y="807"/>
                      </a:lnTo>
                      <a:lnTo>
                        <a:pt x="505" y="795"/>
                      </a:lnTo>
                      <a:lnTo>
                        <a:pt x="493" y="783"/>
                      </a:lnTo>
                      <a:lnTo>
                        <a:pt x="481" y="778"/>
                      </a:lnTo>
                      <a:lnTo>
                        <a:pt x="458" y="778"/>
                      </a:lnTo>
                      <a:lnTo>
                        <a:pt x="435" y="772"/>
                      </a:lnTo>
                      <a:lnTo>
                        <a:pt x="429" y="772"/>
                      </a:lnTo>
                      <a:lnTo>
                        <a:pt x="400" y="760"/>
                      </a:lnTo>
                      <a:lnTo>
                        <a:pt x="383" y="772"/>
                      </a:lnTo>
                      <a:lnTo>
                        <a:pt x="371" y="772"/>
                      </a:lnTo>
                      <a:lnTo>
                        <a:pt x="354" y="789"/>
                      </a:lnTo>
                      <a:lnTo>
                        <a:pt x="342" y="830"/>
                      </a:lnTo>
                      <a:lnTo>
                        <a:pt x="319" y="847"/>
                      </a:lnTo>
                      <a:lnTo>
                        <a:pt x="313" y="859"/>
                      </a:lnTo>
                      <a:lnTo>
                        <a:pt x="290" y="853"/>
                      </a:lnTo>
                      <a:lnTo>
                        <a:pt x="273" y="836"/>
                      </a:lnTo>
                      <a:lnTo>
                        <a:pt x="255" y="824"/>
                      </a:lnTo>
                      <a:lnTo>
                        <a:pt x="249" y="818"/>
                      </a:lnTo>
                      <a:lnTo>
                        <a:pt x="226" y="812"/>
                      </a:lnTo>
                      <a:lnTo>
                        <a:pt x="215" y="801"/>
                      </a:lnTo>
                      <a:lnTo>
                        <a:pt x="203" y="789"/>
                      </a:lnTo>
                      <a:lnTo>
                        <a:pt x="180" y="772"/>
                      </a:lnTo>
                      <a:lnTo>
                        <a:pt x="168" y="725"/>
                      </a:lnTo>
                      <a:lnTo>
                        <a:pt x="168" y="696"/>
                      </a:lnTo>
                      <a:lnTo>
                        <a:pt x="151" y="661"/>
                      </a:lnTo>
                      <a:lnTo>
                        <a:pt x="145" y="650"/>
                      </a:lnTo>
                      <a:lnTo>
                        <a:pt x="145" y="644"/>
                      </a:lnTo>
                      <a:lnTo>
                        <a:pt x="110" y="621"/>
                      </a:lnTo>
                      <a:lnTo>
                        <a:pt x="87" y="592"/>
                      </a:lnTo>
                      <a:lnTo>
                        <a:pt x="75" y="580"/>
                      </a:lnTo>
                      <a:lnTo>
                        <a:pt x="52" y="551"/>
                      </a:lnTo>
                      <a:lnTo>
                        <a:pt x="40" y="545"/>
                      </a:lnTo>
                      <a:lnTo>
                        <a:pt x="35" y="540"/>
                      </a:lnTo>
                      <a:lnTo>
                        <a:pt x="17" y="505"/>
                      </a:lnTo>
                      <a:lnTo>
                        <a:pt x="11" y="505"/>
                      </a:lnTo>
                      <a:lnTo>
                        <a:pt x="6" y="499"/>
                      </a:lnTo>
                      <a:lnTo>
                        <a:pt x="0" y="487"/>
                      </a:lnTo>
                      <a:lnTo>
                        <a:pt x="0" y="476"/>
                      </a:lnTo>
                      <a:lnTo>
                        <a:pt x="23" y="476"/>
                      </a:lnTo>
                      <a:lnTo>
                        <a:pt x="40" y="482"/>
                      </a:lnTo>
                      <a:lnTo>
                        <a:pt x="52" y="482"/>
                      </a:lnTo>
                      <a:lnTo>
                        <a:pt x="64" y="482"/>
                      </a:lnTo>
                      <a:lnTo>
                        <a:pt x="122" y="487"/>
                      </a:lnTo>
                      <a:lnTo>
                        <a:pt x="151" y="493"/>
                      </a:lnTo>
                      <a:lnTo>
                        <a:pt x="168" y="493"/>
                      </a:lnTo>
                      <a:lnTo>
                        <a:pt x="174" y="493"/>
                      </a:lnTo>
                      <a:lnTo>
                        <a:pt x="220" y="499"/>
                      </a:lnTo>
                      <a:lnTo>
                        <a:pt x="232" y="499"/>
                      </a:lnTo>
                      <a:lnTo>
                        <a:pt x="255" y="505"/>
                      </a:lnTo>
                      <a:lnTo>
                        <a:pt x="261" y="505"/>
                      </a:lnTo>
                      <a:lnTo>
                        <a:pt x="278" y="505"/>
                      </a:lnTo>
                      <a:lnTo>
                        <a:pt x="284" y="505"/>
                      </a:lnTo>
                      <a:lnTo>
                        <a:pt x="296" y="505"/>
                      </a:lnTo>
                      <a:lnTo>
                        <a:pt x="319" y="511"/>
                      </a:lnTo>
                      <a:lnTo>
                        <a:pt x="325" y="511"/>
                      </a:lnTo>
                      <a:lnTo>
                        <a:pt x="342" y="511"/>
                      </a:lnTo>
                      <a:lnTo>
                        <a:pt x="348" y="511"/>
                      </a:lnTo>
                      <a:lnTo>
                        <a:pt x="348" y="499"/>
                      </a:lnTo>
                      <a:lnTo>
                        <a:pt x="348" y="482"/>
                      </a:lnTo>
                      <a:lnTo>
                        <a:pt x="354" y="458"/>
                      </a:lnTo>
                      <a:lnTo>
                        <a:pt x="354" y="453"/>
                      </a:lnTo>
                      <a:lnTo>
                        <a:pt x="354" y="441"/>
                      </a:lnTo>
                      <a:lnTo>
                        <a:pt x="354" y="418"/>
                      </a:lnTo>
                      <a:lnTo>
                        <a:pt x="360" y="400"/>
                      </a:lnTo>
                      <a:lnTo>
                        <a:pt x="360" y="383"/>
                      </a:lnTo>
                      <a:lnTo>
                        <a:pt x="360" y="354"/>
                      </a:lnTo>
                      <a:lnTo>
                        <a:pt x="365" y="337"/>
                      </a:lnTo>
                      <a:lnTo>
                        <a:pt x="365" y="331"/>
                      </a:lnTo>
                      <a:lnTo>
                        <a:pt x="365" y="319"/>
                      </a:lnTo>
                      <a:lnTo>
                        <a:pt x="365" y="313"/>
                      </a:lnTo>
                      <a:lnTo>
                        <a:pt x="365" y="302"/>
                      </a:lnTo>
                      <a:lnTo>
                        <a:pt x="371" y="284"/>
                      </a:lnTo>
                      <a:lnTo>
                        <a:pt x="371" y="255"/>
                      </a:lnTo>
                      <a:lnTo>
                        <a:pt x="371" y="250"/>
                      </a:lnTo>
                      <a:lnTo>
                        <a:pt x="371" y="244"/>
                      </a:lnTo>
                      <a:lnTo>
                        <a:pt x="371" y="232"/>
                      </a:lnTo>
                      <a:lnTo>
                        <a:pt x="371" y="226"/>
                      </a:lnTo>
                      <a:lnTo>
                        <a:pt x="377" y="197"/>
                      </a:lnTo>
                      <a:lnTo>
                        <a:pt x="377" y="186"/>
                      </a:lnTo>
                      <a:lnTo>
                        <a:pt x="377" y="180"/>
                      </a:lnTo>
                      <a:lnTo>
                        <a:pt x="377" y="174"/>
                      </a:lnTo>
                      <a:lnTo>
                        <a:pt x="377" y="168"/>
                      </a:lnTo>
                      <a:lnTo>
                        <a:pt x="377" y="157"/>
                      </a:lnTo>
                      <a:lnTo>
                        <a:pt x="377" y="145"/>
                      </a:lnTo>
                      <a:lnTo>
                        <a:pt x="383" y="139"/>
                      </a:lnTo>
                      <a:lnTo>
                        <a:pt x="383" y="128"/>
                      </a:lnTo>
                      <a:lnTo>
                        <a:pt x="383" y="99"/>
                      </a:lnTo>
                      <a:lnTo>
                        <a:pt x="383" y="81"/>
                      </a:lnTo>
                      <a:lnTo>
                        <a:pt x="389" y="47"/>
                      </a:lnTo>
                      <a:lnTo>
                        <a:pt x="394" y="0"/>
                      </a:lnTo>
                      <a:lnTo>
                        <a:pt x="429" y="0"/>
                      </a:lnTo>
                      <a:lnTo>
                        <a:pt x="452" y="0"/>
                      </a:lnTo>
                      <a:lnTo>
                        <a:pt x="470" y="6"/>
                      </a:lnTo>
                      <a:lnTo>
                        <a:pt x="476" y="6"/>
                      </a:lnTo>
                      <a:lnTo>
                        <a:pt x="487" y="6"/>
                      </a:lnTo>
                      <a:lnTo>
                        <a:pt x="499" y="6"/>
                      </a:lnTo>
                      <a:lnTo>
                        <a:pt x="522" y="6"/>
                      </a:lnTo>
                      <a:lnTo>
                        <a:pt x="545" y="6"/>
                      </a:lnTo>
                      <a:lnTo>
                        <a:pt x="557" y="12"/>
                      </a:lnTo>
                      <a:lnTo>
                        <a:pt x="574" y="12"/>
                      </a:lnTo>
                      <a:lnTo>
                        <a:pt x="580" y="12"/>
                      </a:lnTo>
                      <a:lnTo>
                        <a:pt x="586" y="12"/>
                      </a:lnTo>
                      <a:lnTo>
                        <a:pt x="592" y="12"/>
                      </a:lnTo>
                      <a:lnTo>
                        <a:pt x="615" y="12"/>
                      </a:lnTo>
                      <a:lnTo>
                        <a:pt x="621" y="12"/>
                      </a:lnTo>
                      <a:lnTo>
                        <a:pt x="638" y="12"/>
                      </a:lnTo>
                      <a:lnTo>
                        <a:pt x="673" y="18"/>
                      </a:lnTo>
                      <a:lnTo>
                        <a:pt x="673" y="29"/>
                      </a:lnTo>
                      <a:lnTo>
                        <a:pt x="667" y="64"/>
                      </a:lnTo>
                      <a:lnTo>
                        <a:pt x="667" y="70"/>
                      </a:lnTo>
                      <a:lnTo>
                        <a:pt x="667" y="81"/>
                      </a:lnTo>
                      <a:lnTo>
                        <a:pt x="667" y="87"/>
                      </a:lnTo>
                      <a:lnTo>
                        <a:pt x="667" y="93"/>
                      </a:lnTo>
                      <a:lnTo>
                        <a:pt x="667" y="99"/>
                      </a:lnTo>
                      <a:lnTo>
                        <a:pt x="667" y="116"/>
                      </a:lnTo>
                      <a:lnTo>
                        <a:pt x="667" y="128"/>
                      </a:lnTo>
                      <a:lnTo>
                        <a:pt x="667" y="134"/>
                      </a:lnTo>
                      <a:lnTo>
                        <a:pt x="667" y="139"/>
                      </a:lnTo>
                      <a:lnTo>
                        <a:pt x="667" y="151"/>
                      </a:lnTo>
                      <a:lnTo>
                        <a:pt x="667" y="157"/>
                      </a:lnTo>
                      <a:lnTo>
                        <a:pt x="667" y="163"/>
                      </a:lnTo>
                      <a:lnTo>
                        <a:pt x="667" y="174"/>
                      </a:lnTo>
                      <a:lnTo>
                        <a:pt x="661" y="180"/>
                      </a:lnTo>
                      <a:lnTo>
                        <a:pt x="661" y="203"/>
                      </a:lnTo>
                      <a:lnTo>
                        <a:pt x="661" y="209"/>
                      </a:lnTo>
                      <a:lnTo>
                        <a:pt x="661" y="215"/>
                      </a:lnTo>
                      <a:lnTo>
                        <a:pt x="661" y="238"/>
                      </a:lnTo>
                      <a:lnTo>
                        <a:pt x="667" y="238"/>
                      </a:lnTo>
                      <a:lnTo>
                        <a:pt x="673" y="244"/>
                      </a:lnTo>
                      <a:lnTo>
                        <a:pt x="685" y="255"/>
                      </a:lnTo>
                      <a:lnTo>
                        <a:pt x="708" y="255"/>
                      </a:lnTo>
                      <a:lnTo>
                        <a:pt x="731" y="261"/>
                      </a:lnTo>
                      <a:lnTo>
                        <a:pt x="737" y="267"/>
                      </a:lnTo>
                      <a:lnTo>
                        <a:pt x="737" y="279"/>
                      </a:lnTo>
                      <a:lnTo>
                        <a:pt x="743" y="284"/>
                      </a:lnTo>
                      <a:lnTo>
                        <a:pt x="748" y="279"/>
                      </a:lnTo>
                      <a:lnTo>
                        <a:pt x="760" y="284"/>
                      </a:lnTo>
                      <a:lnTo>
                        <a:pt x="777" y="290"/>
                      </a:lnTo>
                      <a:lnTo>
                        <a:pt x="789" y="290"/>
                      </a:lnTo>
                      <a:lnTo>
                        <a:pt x="795" y="290"/>
                      </a:lnTo>
                      <a:lnTo>
                        <a:pt x="801" y="296"/>
                      </a:lnTo>
                      <a:lnTo>
                        <a:pt x="807" y="296"/>
                      </a:lnTo>
                      <a:lnTo>
                        <a:pt x="824" y="290"/>
                      </a:lnTo>
                      <a:lnTo>
                        <a:pt x="836" y="296"/>
                      </a:lnTo>
                      <a:lnTo>
                        <a:pt x="836" y="290"/>
                      </a:lnTo>
                      <a:lnTo>
                        <a:pt x="841" y="290"/>
                      </a:lnTo>
                      <a:lnTo>
                        <a:pt x="841" y="308"/>
                      </a:lnTo>
                      <a:lnTo>
                        <a:pt x="853" y="308"/>
                      </a:lnTo>
                      <a:lnTo>
                        <a:pt x="853" y="319"/>
                      </a:lnTo>
                      <a:lnTo>
                        <a:pt x="859" y="325"/>
                      </a:lnTo>
                      <a:lnTo>
                        <a:pt x="882" y="313"/>
                      </a:lnTo>
                      <a:lnTo>
                        <a:pt x="894" y="319"/>
                      </a:lnTo>
                      <a:lnTo>
                        <a:pt x="899" y="319"/>
                      </a:lnTo>
                      <a:lnTo>
                        <a:pt x="911" y="331"/>
                      </a:lnTo>
                      <a:lnTo>
                        <a:pt x="928" y="325"/>
                      </a:lnTo>
                      <a:lnTo>
                        <a:pt x="928" y="337"/>
                      </a:lnTo>
                      <a:lnTo>
                        <a:pt x="934" y="342"/>
                      </a:lnTo>
                      <a:lnTo>
                        <a:pt x="952" y="313"/>
                      </a:lnTo>
                      <a:lnTo>
                        <a:pt x="969" y="331"/>
                      </a:lnTo>
                      <a:lnTo>
                        <a:pt x="981" y="319"/>
                      </a:lnTo>
                      <a:lnTo>
                        <a:pt x="986" y="319"/>
                      </a:lnTo>
                      <a:lnTo>
                        <a:pt x="981" y="325"/>
                      </a:lnTo>
                      <a:lnTo>
                        <a:pt x="992" y="337"/>
                      </a:lnTo>
                      <a:lnTo>
                        <a:pt x="998" y="337"/>
                      </a:lnTo>
                      <a:lnTo>
                        <a:pt x="1004" y="342"/>
                      </a:lnTo>
                      <a:lnTo>
                        <a:pt x="1015" y="337"/>
                      </a:lnTo>
                      <a:lnTo>
                        <a:pt x="1039" y="325"/>
                      </a:lnTo>
                      <a:lnTo>
                        <a:pt x="1056" y="325"/>
                      </a:lnTo>
                      <a:lnTo>
                        <a:pt x="1062" y="325"/>
                      </a:lnTo>
                      <a:lnTo>
                        <a:pt x="1062" y="319"/>
                      </a:lnTo>
                      <a:lnTo>
                        <a:pt x="1079" y="319"/>
                      </a:lnTo>
                      <a:lnTo>
                        <a:pt x="1079" y="313"/>
                      </a:lnTo>
                      <a:lnTo>
                        <a:pt x="1079" y="319"/>
                      </a:lnTo>
                      <a:lnTo>
                        <a:pt x="1085" y="319"/>
                      </a:lnTo>
                      <a:lnTo>
                        <a:pt x="1085" y="325"/>
                      </a:lnTo>
                      <a:lnTo>
                        <a:pt x="1108" y="325"/>
                      </a:lnTo>
                      <a:lnTo>
                        <a:pt x="1114" y="319"/>
                      </a:lnTo>
                      <a:lnTo>
                        <a:pt x="1120" y="313"/>
                      </a:lnTo>
                      <a:lnTo>
                        <a:pt x="1126" y="313"/>
                      </a:lnTo>
                      <a:lnTo>
                        <a:pt x="1126" y="319"/>
                      </a:lnTo>
                      <a:lnTo>
                        <a:pt x="1137" y="325"/>
                      </a:lnTo>
                      <a:lnTo>
                        <a:pt x="1149" y="337"/>
                      </a:lnTo>
                      <a:lnTo>
                        <a:pt x="1155" y="337"/>
                      </a:lnTo>
                      <a:lnTo>
                        <a:pt x="1161" y="337"/>
                      </a:lnTo>
                      <a:lnTo>
                        <a:pt x="1161" y="342"/>
                      </a:lnTo>
                      <a:lnTo>
                        <a:pt x="1172" y="342"/>
                      </a:lnTo>
                      <a:lnTo>
                        <a:pt x="1184" y="354"/>
                      </a:lnTo>
                      <a:lnTo>
                        <a:pt x="1184" y="348"/>
                      </a:lnTo>
                      <a:lnTo>
                        <a:pt x="1195" y="360"/>
                      </a:lnTo>
                      <a:lnTo>
                        <a:pt x="1207" y="354"/>
                      </a:lnTo>
                      <a:lnTo>
                        <a:pt x="1230" y="360"/>
                      </a:lnTo>
                      <a:lnTo>
                        <a:pt x="1230" y="377"/>
                      </a:lnTo>
                      <a:lnTo>
                        <a:pt x="1230" y="389"/>
                      </a:lnTo>
                      <a:lnTo>
                        <a:pt x="1230" y="395"/>
                      </a:lnTo>
                      <a:lnTo>
                        <a:pt x="1230" y="406"/>
                      </a:lnTo>
                      <a:lnTo>
                        <a:pt x="1230" y="418"/>
                      </a:lnTo>
                      <a:lnTo>
                        <a:pt x="1230" y="424"/>
                      </a:lnTo>
                      <a:lnTo>
                        <a:pt x="1230" y="435"/>
                      </a:lnTo>
                      <a:lnTo>
                        <a:pt x="1230" y="453"/>
                      </a:lnTo>
                      <a:lnTo>
                        <a:pt x="1230" y="458"/>
                      </a:lnTo>
                      <a:lnTo>
                        <a:pt x="1230" y="464"/>
                      </a:lnTo>
                      <a:lnTo>
                        <a:pt x="1230" y="482"/>
                      </a:lnTo>
                      <a:lnTo>
                        <a:pt x="1230" y="493"/>
                      </a:lnTo>
                      <a:lnTo>
                        <a:pt x="1230" y="511"/>
                      </a:lnTo>
                      <a:lnTo>
                        <a:pt x="1230" y="516"/>
                      </a:lnTo>
                      <a:lnTo>
                        <a:pt x="1230" y="534"/>
                      </a:lnTo>
                      <a:lnTo>
                        <a:pt x="1236" y="540"/>
                      </a:lnTo>
                      <a:lnTo>
                        <a:pt x="1248" y="551"/>
                      </a:lnTo>
                      <a:lnTo>
                        <a:pt x="1253" y="563"/>
                      </a:lnTo>
                      <a:lnTo>
                        <a:pt x="1253" y="586"/>
                      </a:lnTo>
                      <a:lnTo>
                        <a:pt x="1265" y="592"/>
                      </a:lnTo>
                      <a:lnTo>
                        <a:pt x="1259" y="598"/>
                      </a:lnTo>
                      <a:lnTo>
                        <a:pt x="1277" y="632"/>
                      </a:lnTo>
                      <a:lnTo>
                        <a:pt x="1282" y="627"/>
                      </a:lnTo>
                      <a:lnTo>
                        <a:pt x="1282" y="650"/>
                      </a:lnTo>
                      <a:lnTo>
                        <a:pt x="1282" y="667"/>
                      </a:lnTo>
                      <a:lnTo>
                        <a:pt x="1277" y="679"/>
                      </a:lnTo>
                      <a:lnTo>
                        <a:pt x="1271" y="708"/>
                      </a:lnTo>
                      <a:lnTo>
                        <a:pt x="1265" y="719"/>
                      </a:lnTo>
                      <a:lnTo>
                        <a:pt x="1265" y="731"/>
                      </a:lnTo>
                      <a:lnTo>
                        <a:pt x="1271" y="737"/>
                      </a:lnTo>
                      <a:lnTo>
                        <a:pt x="1271" y="754"/>
                      </a:lnTo>
                      <a:lnTo>
                        <a:pt x="1271" y="760"/>
                      </a:lnTo>
                      <a:lnTo>
                        <a:pt x="1265" y="760"/>
                      </a:lnTo>
                      <a:lnTo>
                        <a:pt x="1265" y="766"/>
                      </a:lnTo>
                      <a:lnTo>
                        <a:pt x="1253" y="783"/>
                      </a:lnTo>
                      <a:lnTo>
                        <a:pt x="1253" y="795"/>
                      </a:lnTo>
                      <a:lnTo>
                        <a:pt x="1259" y="807"/>
                      </a:lnTo>
                      <a:lnTo>
                        <a:pt x="1253" y="807"/>
                      </a:lnTo>
                      <a:lnTo>
                        <a:pt x="1236" y="807"/>
                      </a:lnTo>
                      <a:lnTo>
                        <a:pt x="1207" y="818"/>
                      </a:lnTo>
                      <a:lnTo>
                        <a:pt x="1166" y="841"/>
                      </a:lnTo>
                      <a:lnTo>
                        <a:pt x="1161" y="841"/>
                      </a:lnTo>
                      <a:lnTo>
                        <a:pt x="1184" y="824"/>
                      </a:lnTo>
                      <a:lnTo>
                        <a:pt x="1190" y="824"/>
                      </a:lnTo>
                      <a:lnTo>
                        <a:pt x="1190" y="818"/>
                      </a:lnTo>
                      <a:lnTo>
                        <a:pt x="1178" y="818"/>
                      </a:lnTo>
                      <a:lnTo>
                        <a:pt x="1166" y="824"/>
                      </a:lnTo>
                      <a:lnTo>
                        <a:pt x="1166" y="795"/>
                      </a:lnTo>
                      <a:lnTo>
                        <a:pt x="1161" y="795"/>
                      </a:lnTo>
                      <a:lnTo>
                        <a:pt x="1155" y="807"/>
                      </a:lnTo>
                      <a:lnTo>
                        <a:pt x="1149" y="807"/>
                      </a:lnTo>
                      <a:lnTo>
                        <a:pt x="1143" y="807"/>
                      </a:lnTo>
                      <a:lnTo>
                        <a:pt x="1137" y="812"/>
                      </a:lnTo>
                      <a:lnTo>
                        <a:pt x="1143" y="818"/>
                      </a:lnTo>
                      <a:lnTo>
                        <a:pt x="1137" y="818"/>
                      </a:lnTo>
                      <a:lnTo>
                        <a:pt x="1143" y="824"/>
                      </a:lnTo>
                      <a:lnTo>
                        <a:pt x="1149" y="824"/>
                      </a:lnTo>
                      <a:lnTo>
                        <a:pt x="1155" y="841"/>
                      </a:lnTo>
                      <a:lnTo>
                        <a:pt x="1166" y="847"/>
                      </a:lnTo>
                      <a:lnTo>
                        <a:pt x="1132" y="876"/>
                      </a:lnTo>
                      <a:lnTo>
                        <a:pt x="1103" y="899"/>
                      </a:lnTo>
                      <a:lnTo>
                        <a:pt x="1091" y="905"/>
                      </a:lnTo>
                      <a:lnTo>
                        <a:pt x="1050" y="928"/>
                      </a:lnTo>
                      <a:lnTo>
                        <a:pt x="1015" y="946"/>
                      </a:lnTo>
                      <a:lnTo>
                        <a:pt x="998" y="957"/>
                      </a:lnTo>
                      <a:lnTo>
                        <a:pt x="986" y="969"/>
                      </a:lnTo>
                      <a:lnTo>
                        <a:pt x="975" y="975"/>
                      </a:lnTo>
                      <a:lnTo>
                        <a:pt x="952" y="992"/>
                      </a:lnTo>
                      <a:lnTo>
                        <a:pt x="934" y="1015"/>
                      </a:lnTo>
                      <a:lnTo>
                        <a:pt x="934" y="1021"/>
                      </a:lnTo>
                      <a:lnTo>
                        <a:pt x="923" y="1033"/>
                      </a:lnTo>
                      <a:lnTo>
                        <a:pt x="911" y="1050"/>
                      </a:lnTo>
                      <a:lnTo>
                        <a:pt x="899" y="1085"/>
                      </a:lnTo>
                      <a:lnTo>
                        <a:pt x="894" y="1114"/>
                      </a:lnTo>
                      <a:lnTo>
                        <a:pt x="905" y="1166"/>
                      </a:lnTo>
                      <a:lnTo>
                        <a:pt x="911" y="1184"/>
                      </a:lnTo>
                      <a:lnTo>
                        <a:pt x="917" y="1236"/>
                      </a:lnTo>
                      <a:lnTo>
                        <a:pt x="894" y="1247"/>
                      </a:lnTo>
                      <a:lnTo>
                        <a:pt x="882" y="1247"/>
                      </a:lnTo>
                      <a:lnTo>
                        <a:pt x="870" y="1236"/>
                      </a:lnTo>
                      <a:lnTo>
                        <a:pt x="841" y="1224"/>
                      </a:lnTo>
                      <a:lnTo>
                        <a:pt x="801" y="1224"/>
                      </a:lnTo>
                      <a:lnTo>
                        <a:pt x="801" y="1218"/>
                      </a:lnTo>
                      <a:lnTo>
                        <a:pt x="795" y="1218"/>
                      </a:lnTo>
                      <a:lnTo>
                        <a:pt x="766" y="1201"/>
                      </a:lnTo>
                      <a:lnTo>
                        <a:pt x="754" y="1201"/>
                      </a:lnTo>
                      <a:lnTo>
                        <a:pt x="748" y="1195"/>
                      </a:lnTo>
                      <a:lnTo>
                        <a:pt x="748" y="1189"/>
                      </a:lnTo>
                      <a:lnTo>
                        <a:pt x="725" y="1184"/>
                      </a:lnTo>
                      <a:lnTo>
                        <a:pt x="708" y="1160"/>
                      </a:lnTo>
                      <a:lnTo>
                        <a:pt x="696" y="1131"/>
                      </a:lnTo>
                      <a:lnTo>
                        <a:pt x="685" y="1108"/>
                      </a:lnTo>
                      <a:lnTo>
                        <a:pt x="679" y="1079"/>
                      </a:lnTo>
                      <a:lnTo>
                        <a:pt x="679" y="1050"/>
                      </a:lnTo>
                      <a:lnTo>
                        <a:pt x="661" y="1033"/>
                      </a:lnTo>
                      <a:lnTo>
                        <a:pt x="650" y="1027"/>
                      </a:lnTo>
                      <a:lnTo>
                        <a:pt x="650" y="1021"/>
                      </a:lnTo>
                      <a:close/>
                    </a:path>
                  </a:pathLst>
                </a:custGeom>
                <a:solidFill>
                  <a:srgbClr val="ED7D31">
                    <a:lumMod val="60000"/>
                    <a:lumOff val="4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52" name="Freeform 51"/>
                <p:cNvSpPr>
                  <a:spLocks/>
                </p:cNvSpPr>
                <p:nvPr/>
              </p:nvSpPr>
              <p:spPr bwMode="auto">
                <a:xfrm>
                  <a:off x="4025064" y="3669477"/>
                  <a:ext cx="820738" cy="718945"/>
                </a:xfrm>
                <a:custGeom>
                  <a:avLst/>
                  <a:gdLst>
                    <a:gd name="T0" fmla="*/ 308 w 517"/>
                    <a:gd name="T1" fmla="*/ 226 h 453"/>
                    <a:gd name="T2" fmla="*/ 337 w 517"/>
                    <a:gd name="T3" fmla="*/ 226 h 453"/>
                    <a:gd name="T4" fmla="*/ 366 w 517"/>
                    <a:gd name="T5" fmla="*/ 226 h 453"/>
                    <a:gd name="T6" fmla="*/ 383 w 517"/>
                    <a:gd name="T7" fmla="*/ 220 h 453"/>
                    <a:gd name="T8" fmla="*/ 430 w 517"/>
                    <a:gd name="T9" fmla="*/ 220 h 453"/>
                    <a:gd name="T10" fmla="*/ 424 w 517"/>
                    <a:gd name="T11" fmla="*/ 261 h 453"/>
                    <a:gd name="T12" fmla="*/ 441 w 517"/>
                    <a:gd name="T13" fmla="*/ 284 h 453"/>
                    <a:gd name="T14" fmla="*/ 447 w 517"/>
                    <a:gd name="T15" fmla="*/ 313 h 453"/>
                    <a:gd name="T16" fmla="*/ 441 w 517"/>
                    <a:gd name="T17" fmla="*/ 342 h 453"/>
                    <a:gd name="T18" fmla="*/ 459 w 517"/>
                    <a:gd name="T19" fmla="*/ 331 h 453"/>
                    <a:gd name="T20" fmla="*/ 494 w 517"/>
                    <a:gd name="T21" fmla="*/ 313 h 453"/>
                    <a:gd name="T22" fmla="*/ 488 w 517"/>
                    <a:gd name="T23" fmla="*/ 348 h 453"/>
                    <a:gd name="T24" fmla="*/ 464 w 517"/>
                    <a:gd name="T25" fmla="*/ 366 h 453"/>
                    <a:gd name="T26" fmla="*/ 464 w 517"/>
                    <a:gd name="T27" fmla="*/ 377 h 453"/>
                    <a:gd name="T28" fmla="*/ 459 w 517"/>
                    <a:gd name="T29" fmla="*/ 389 h 453"/>
                    <a:gd name="T30" fmla="*/ 494 w 517"/>
                    <a:gd name="T31" fmla="*/ 412 h 453"/>
                    <a:gd name="T32" fmla="*/ 517 w 517"/>
                    <a:gd name="T33" fmla="*/ 418 h 453"/>
                    <a:gd name="T34" fmla="*/ 505 w 517"/>
                    <a:gd name="T35" fmla="*/ 447 h 453"/>
                    <a:gd name="T36" fmla="*/ 482 w 517"/>
                    <a:gd name="T37" fmla="*/ 453 h 453"/>
                    <a:gd name="T38" fmla="*/ 470 w 517"/>
                    <a:gd name="T39" fmla="*/ 424 h 453"/>
                    <a:gd name="T40" fmla="*/ 412 w 517"/>
                    <a:gd name="T41" fmla="*/ 435 h 453"/>
                    <a:gd name="T42" fmla="*/ 395 w 517"/>
                    <a:gd name="T43" fmla="*/ 447 h 453"/>
                    <a:gd name="T44" fmla="*/ 383 w 517"/>
                    <a:gd name="T45" fmla="*/ 424 h 453"/>
                    <a:gd name="T46" fmla="*/ 354 w 517"/>
                    <a:gd name="T47" fmla="*/ 441 h 453"/>
                    <a:gd name="T48" fmla="*/ 308 w 517"/>
                    <a:gd name="T49" fmla="*/ 441 h 453"/>
                    <a:gd name="T50" fmla="*/ 290 w 517"/>
                    <a:gd name="T51" fmla="*/ 418 h 453"/>
                    <a:gd name="T52" fmla="*/ 261 w 517"/>
                    <a:gd name="T53" fmla="*/ 400 h 453"/>
                    <a:gd name="T54" fmla="*/ 250 w 517"/>
                    <a:gd name="T55" fmla="*/ 377 h 453"/>
                    <a:gd name="T56" fmla="*/ 227 w 517"/>
                    <a:gd name="T57" fmla="*/ 366 h 453"/>
                    <a:gd name="T58" fmla="*/ 198 w 517"/>
                    <a:gd name="T59" fmla="*/ 377 h 453"/>
                    <a:gd name="T60" fmla="*/ 238 w 517"/>
                    <a:gd name="T61" fmla="*/ 395 h 453"/>
                    <a:gd name="T62" fmla="*/ 209 w 517"/>
                    <a:gd name="T63" fmla="*/ 395 h 453"/>
                    <a:gd name="T64" fmla="*/ 151 w 517"/>
                    <a:gd name="T65" fmla="*/ 400 h 453"/>
                    <a:gd name="T66" fmla="*/ 35 w 517"/>
                    <a:gd name="T67" fmla="*/ 383 h 453"/>
                    <a:gd name="T68" fmla="*/ 23 w 517"/>
                    <a:gd name="T69" fmla="*/ 371 h 453"/>
                    <a:gd name="T70" fmla="*/ 41 w 517"/>
                    <a:gd name="T71" fmla="*/ 348 h 453"/>
                    <a:gd name="T72" fmla="*/ 35 w 517"/>
                    <a:gd name="T73" fmla="*/ 319 h 453"/>
                    <a:gd name="T74" fmla="*/ 47 w 517"/>
                    <a:gd name="T75" fmla="*/ 267 h 453"/>
                    <a:gd name="T76" fmla="*/ 52 w 517"/>
                    <a:gd name="T77" fmla="*/ 215 h 453"/>
                    <a:gd name="T78" fmla="*/ 35 w 517"/>
                    <a:gd name="T79" fmla="*/ 180 h 453"/>
                    <a:gd name="T80" fmla="*/ 18 w 517"/>
                    <a:gd name="T81" fmla="*/ 139 h 453"/>
                    <a:gd name="T82" fmla="*/ 0 w 517"/>
                    <a:gd name="T83" fmla="*/ 104 h 453"/>
                    <a:gd name="T84" fmla="*/ 0 w 517"/>
                    <a:gd name="T85" fmla="*/ 70 h 453"/>
                    <a:gd name="T86" fmla="*/ 0 w 517"/>
                    <a:gd name="T87" fmla="*/ 41 h 453"/>
                    <a:gd name="T88" fmla="*/ 0 w 517"/>
                    <a:gd name="T89" fmla="*/ 6 h 453"/>
                    <a:gd name="T90" fmla="*/ 23 w 517"/>
                    <a:gd name="T91" fmla="*/ 6 h 453"/>
                    <a:gd name="T92" fmla="*/ 52 w 517"/>
                    <a:gd name="T93" fmla="*/ 6 h 453"/>
                    <a:gd name="T94" fmla="*/ 81 w 517"/>
                    <a:gd name="T95" fmla="*/ 6 h 453"/>
                    <a:gd name="T96" fmla="*/ 128 w 517"/>
                    <a:gd name="T97" fmla="*/ 6 h 453"/>
                    <a:gd name="T98" fmla="*/ 192 w 517"/>
                    <a:gd name="T99" fmla="*/ 0 h 453"/>
                    <a:gd name="T100" fmla="*/ 256 w 517"/>
                    <a:gd name="T101" fmla="*/ 0 h 453"/>
                    <a:gd name="T102" fmla="*/ 279 w 517"/>
                    <a:gd name="T103" fmla="*/ 0 h 453"/>
                    <a:gd name="T104" fmla="*/ 290 w 517"/>
                    <a:gd name="T105" fmla="*/ 46 h 453"/>
                    <a:gd name="T106" fmla="*/ 296 w 517"/>
                    <a:gd name="T107" fmla="*/ 64 h 453"/>
                    <a:gd name="T108" fmla="*/ 285 w 517"/>
                    <a:gd name="T109" fmla="*/ 99 h 453"/>
                    <a:gd name="T110" fmla="*/ 290 w 517"/>
                    <a:gd name="T111" fmla="*/ 110 h 453"/>
                    <a:gd name="T112" fmla="*/ 267 w 517"/>
                    <a:gd name="T113" fmla="*/ 145 h 453"/>
                    <a:gd name="T114" fmla="*/ 256 w 517"/>
                    <a:gd name="T115" fmla="*/ 186 h 453"/>
                    <a:gd name="T116" fmla="*/ 244 w 517"/>
                    <a:gd name="T117" fmla="*/ 232 h 453"/>
                    <a:gd name="T118" fmla="*/ 290 w 517"/>
                    <a:gd name="T119" fmla="*/ 226 h 453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517"/>
                    <a:gd name="T181" fmla="*/ 0 h 453"/>
                    <a:gd name="T182" fmla="*/ 517 w 517"/>
                    <a:gd name="T183" fmla="*/ 453 h 453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517" h="453">
                      <a:moveTo>
                        <a:pt x="290" y="226"/>
                      </a:moveTo>
                      <a:lnTo>
                        <a:pt x="302" y="226"/>
                      </a:lnTo>
                      <a:lnTo>
                        <a:pt x="308" y="226"/>
                      </a:lnTo>
                      <a:lnTo>
                        <a:pt x="325" y="226"/>
                      </a:lnTo>
                      <a:lnTo>
                        <a:pt x="331" y="226"/>
                      </a:lnTo>
                      <a:lnTo>
                        <a:pt x="337" y="226"/>
                      </a:lnTo>
                      <a:lnTo>
                        <a:pt x="348" y="226"/>
                      </a:lnTo>
                      <a:lnTo>
                        <a:pt x="354" y="226"/>
                      </a:lnTo>
                      <a:lnTo>
                        <a:pt x="366" y="226"/>
                      </a:lnTo>
                      <a:lnTo>
                        <a:pt x="372" y="226"/>
                      </a:lnTo>
                      <a:lnTo>
                        <a:pt x="377" y="220"/>
                      </a:lnTo>
                      <a:lnTo>
                        <a:pt x="383" y="220"/>
                      </a:lnTo>
                      <a:lnTo>
                        <a:pt x="395" y="220"/>
                      </a:lnTo>
                      <a:lnTo>
                        <a:pt x="424" y="220"/>
                      </a:lnTo>
                      <a:lnTo>
                        <a:pt x="430" y="220"/>
                      </a:lnTo>
                      <a:lnTo>
                        <a:pt x="430" y="226"/>
                      </a:lnTo>
                      <a:lnTo>
                        <a:pt x="424" y="249"/>
                      </a:lnTo>
                      <a:lnTo>
                        <a:pt x="424" y="261"/>
                      </a:lnTo>
                      <a:lnTo>
                        <a:pt x="435" y="278"/>
                      </a:lnTo>
                      <a:lnTo>
                        <a:pt x="441" y="278"/>
                      </a:lnTo>
                      <a:lnTo>
                        <a:pt x="441" y="284"/>
                      </a:lnTo>
                      <a:lnTo>
                        <a:pt x="447" y="307"/>
                      </a:lnTo>
                      <a:lnTo>
                        <a:pt x="459" y="313"/>
                      </a:lnTo>
                      <a:lnTo>
                        <a:pt x="447" y="313"/>
                      </a:lnTo>
                      <a:lnTo>
                        <a:pt x="435" y="331"/>
                      </a:lnTo>
                      <a:lnTo>
                        <a:pt x="430" y="337"/>
                      </a:lnTo>
                      <a:lnTo>
                        <a:pt x="441" y="342"/>
                      </a:lnTo>
                      <a:lnTo>
                        <a:pt x="441" y="348"/>
                      </a:lnTo>
                      <a:lnTo>
                        <a:pt x="453" y="348"/>
                      </a:lnTo>
                      <a:lnTo>
                        <a:pt x="459" y="331"/>
                      </a:lnTo>
                      <a:lnTo>
                        <a:pt x="464" y="331"/>
                      </a:lnTo>
                      <a:lnTo>
                        <a:pt x="476" y="325"/>
                      </a:lnTo>
                      <a:lnTo>
                        <a:pt x="494" y="313"/>
                      </a:lnTo>
                      <a:lnTo>
                        <a:pt x="494" y="337"/>
                      </a:lnTo>
                      <a:lnTo>
                        <a:pt x="488" y="342"/>
                      </a:lnTo>
                      <a:lnTo>
                        <a:pt x="488" y="348"/>
                      </a:lnTo>
                      <a:lnTo>
                        <a:pt x="476" y="360"/>
                      </a:lnTo>
                      <a:lnTo>
                        <a:pt x="470" y="371"/>
                      </a:lnTo>
                      <a:lnTo>
                        <a:pt x="464" y="366"/>
                      </a:lnTo>
                      <a:lnTo>
                        <a:pt x="464" y="377"/>
                      </a:lnTo>
                      <a:lnTo>
                        <a:pt x="453" y="371"/>
                      </a:lnTo>
                      <a:lnTo>
                        <a:pt x="464" y="377"/>
                      </a:lnTo>
                      <a:lnTo>
                        <a:pt x="453" y="377"/>
                      </a:lnTo>
                      <a:lnTo>
                        <a:pt x="464" y="389"/>
                      </a:lnTo>
                      <a:lnTo>
                        <a:pt x="459" y="389"/>
                      </a:lnTo>
                      <a:lnTo>
                        <a:pt x="470" y="406"/>
                      </a:lnTo>
                      <a:lnTo>
                        <a:pt x="482" y="400"/>
                      </a:lnTo>
                      <a:lnTo>
                        <a:pt x="494" y="412"/>
                      </a:lnTo>
                      <a:lnTo>
                        <a:pt x="505" y="406"/>
                      </a:lnTo>
                      <a:lnTo>
                        <a:pt x="511" y="418"/>
                      </a:lnTo>
                      <a:lnTo>
                        <a:pt x="517" y="418"/>
                      </a:lnTo>
                      <a:lnTo>
                        <a:pt x="517" y="435"/>
                      </a:lnTo>
                      <a:lnTo>
                        <a:pt x="511" y="441"/>
                      </a:lnTo>
                      <a:lnTo>
                        <a:pt x="505" y="447"/>
                      </a:lnTo>
                      <a:lnTo>
                        <a:pt x="499" y="435"/>
                      </a:lnTo>
                      <a:lnTo>
                        <a:pt x="488" y="453"/>
                      </a:lnTo>
                      <a:lnTo>
                        <a:pt x="482" y="453"/>
                      </a:lnTo>
                      <a:lnTo>
                        <a:pt x="488" y="447"/>
                      </a:lnTo>
                      <a:lnTo>
                        <a:pt x="482" y="435"/>
                      </a:lnTo>
                      <a:lnTo>
                        <a:pt x="470" y="424"/>
                      </a:lnTo>
                      <a:lnTo>
                        <a:pt x="441" y="412"/>
                      </a:lnTo>
                      <a:lnTo>
                        <a:pt x="430" y="418"/>
                      </a:lnTo>
                      <a:lnTo>
                        <a:pt x="412" y="435"/>
                      </a:lnTo>
                      <a:lnTo>
                        <a:pt x="395" y="447"/>
                      </a:lnTo>
                      <a:lnTo>
                        <a:pt x="383" y="447"/>
                      </a:lnTo>
                      <a:lnTo>
                        <a:pt x="395" y="447"/>
                      </a:lnTo>
                      <a:lnTo>
                        <a:pt x="395" y="441"/>
                      </a:lnTo>
                      <a:lnTo>
                        <a:pt x="389" y="424"/>
                      </a:lnTo>
                      <a:lnTo>
                        <a:pt x="383" y="424"/>
                      </a:lnTo>
                      <a:lnTo>
                        <a:pt x="377" y="429"/>
                      </a:lnTo>
                      <a:lnTo>
                        <a:pt x="372" y="429"/>
                      </a:lnTo>
                      <a:lnTo>
                        <a:pt x="354" y="441"/>
                      </a:lnTo>
                      <a:lnTo>
                        <a:pt x="337" y="453"/>
                      </a:lnTo>
                      <a:lnTo>
                        <a:pt x="325" y="441"/>
                      </a:lnTo>
                      <a:lnTo>
                        <a:pt x="308" y="441"/>
                      </a:lnTo>
                      <a:lnTo>
                        <a:pt x="279" y="424"/>
                      </a:lnTo>
                      <a:lnTo>
                        <a:pt x="285" y="424"/>
                      </a:lnTo>
                      <a:lnTo>
                        <a:pt x="290" y="418"/>
                      </a:lnTo>
                      <a:lnTo>
                        <a:pt x="290" y="406"/>
                      </a:lnTo>
                      <a:lnTo>
                        <a:pt x="267" y="400"/>
                      </a:lnTo>
                      <a:lnTo>
                        <a:pt x="261" y="400"/>
                      </a:lnTo>
                      <a:lnTo>
                        <a:pt x="261" y="389"/>
                      </a:lnTo>
                      <a:lnTo>
                        <a:pt x="250" y="389"/>
                      </a:lnTo>
                      <a:lnTo>
                        <a:pt x="250" y="377"/>
                      </a:lnTo>
                      <a:lnTo>
                        <a:pt x="238" y="377"/>
                      </a:lnTo>
                      <a:lnTo>
                        <a:pt x="227" y="377"/>
                      </a:lnTo>
                      <a:lnTo>
                        <a:pt x="227" y="366"/>
                      </a:lnTo>
                      <a:lnTo>
                        <a:pt x="215" y="366"/>
                      </a:lnTo>
                      <a:lnTo>
                        <a:pt x="215" y="371"/>
                      </a:lnTo>
                      <a:lnTo>
                        <a:pt x="198" y="377"/>
                      </a:lnTo>
                      <a:lnTo>
                        <a:pt x="215" y="395"/>
                      </a:lnTo>
                      <a:lnTo>
                        <a:pt x="232" y="389"/>
                      </a:lnTo>
                      <a:lnTo>
                        <a:pt x="238" y="395"/>
                      </a:lnTo>
                      <a:lnTo>
                        <a:pt x="238" y="406"/>
                      </a:lnTo>
                      <a:lnTo>
                        <a:pt x="227" y="406"/>
                      </a:lnTo>
                      <a:lnTo>
                        <a:pt x="209" y="395"/>
                      </a:lnTo>
                      <a:lnTo>
                        <a:pt x="198" y="395"/>
                      </a:lnTo>
                      <a:lnTo>
                        <a:pt x="192" y="400"/>
                      </a:lnTo>
                      <a:lnTo>
                        <a:pt x="151" y="400"/>
                      </a:lnTo>
                      <a:lnTo>
                        <a:pt x="116" y="383"/>
                      </a:lnTo>
                      <a:lnTo>
                        <a:pt x="87" y="377"/>
                      </a:lnTo>
                      <a:lnTo>
                        <a:pt x="35" y="383"/>
                      </a:lnTo>
                      <a:lnTo>
                        <a:pt x="29" y="395"/>
                      </a:lnTo>
                      <a:lnTo>
                        <a:pt x="23" y="383"/>
                      </a:lnTo>
                      <a:lnTo>
                        <a:pt x="23" y="371"/>
                      </a:lnTo>
                      <a:lnTo>
                        <a:pt x="35" y="354"/>
                      </a:lnTo>
                      <a:lnTo>
                        <a:pt x="35" y="348"/>
                      </a:lnTo>
                      <a:lnTo>
                        <a:pt x="41" y="348"/>
                      </a:lnTo>
                      <a:lnTo>
                        <a:pt x="41" y="342"/>
                      </a:lnTo>
                      <a:lnTo>
                        <a:pt x="41" y="325"/>
                      </a:lnTo>
                      <a:lnTo>
                        <a:pt x="35" y="319"/>
                      </a:lnTo>
                      <a:lnTo>
                        <a:pt x="35" y="307"/>
                      </a:lnTo>
                      <a:lnTo>
                        <a:pt x="41" y="296"/>
                      </a:lnTo>
                      <a:lnTo>
                        <a:pt x="47" y="267"/>
                      </a:lnTo>
                      <a:lnTo>
                        <a:pt x="52" y="255"/>
                      </a:lnTo>
                      <a:lnTo>
                        <a:pt x="52" y="238"/>
                      </a:lnTo>
                      <a:lnTo>
                        <a:pt x="52" y="215"/>
                      </a:lnTo>
                      <a:lnTo>
                        <a:pt x="47" y="220"/>
                      </a:lnTo>
                      <a:lnTo>
                        <a:pt x="29" y="186"/>
                      </a:lnTo>
                      <a:lnTo>
                        <a:pt x="35" y="180"/>
                      </a:lnTo>
                      <a:lnTo>
                        <a:pt x="23" y="174"/>
                      </a:lnTo>
                      <a:lnTo>
                        <a:pt x="23" y="151"/>
                      </a:lnTo>
                      <a:lnTo>
                        <a:pt x="18" y="139"/>
                      </a:lnTo>
                      <a:lnTo>
                        <a:pt x="6" y="128"/>
                      </a:lnTo>
                      <a:lnTo>
                        <a:pt x="0" y="122"/>
                      </a:lnTo>
                      <a:lnTo>
                        <a:pt x="0" y="104"/>
                      </a:lnTo>
                      <a:lnTo>
                        <a:pt x="0" y="99"/>
                      </a:lnTo>
                      <a:lnTo>
                        <a:pt x="0" y="81"/>
                      </a:lnTo>
                      <a:lnTo>
                        <a:pt x="0" y="70"/>
                      </a:lnTo>
                      <a:lnTo>
                        <a:pt x="0" y="52"/>
                      </a:lnTo>
                      <a:lnTo>
                        <a:pt x="0" y="46"/>
                      </a:lnTo>
                      <a:lnTo>
                        <a:pt x="0" y="41"/>
                      </a:lnTo>
                      <a:lnTo>
                        <a:pt x="0" y="23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12" y="6"/>
                      </a:lnTo>
                      <a:lnTo>
                        <a:pt x="23" y="6"/>
                      </a:lnTo>
                      <a:lnTo>
                        <a:pt x="35" y="6"/>
                      </a:lnTo>
                      <a:lnTo>
                        <a:pt x="47" y="6"/>
                      </a:lnTo>
                      <a:lnTo>
                        <a:pt x="52" y="6"/>
                      </a:lnTo>
                      <a:lnTo>
                        <a:pt x="70" y="6"/>
                      </a:lnTo>
                      <a:lnTo>
                        <a:pt x="76" y="6"/>
                      </a:lnTo>
                      <a:lnTo>
                        <a:pt x="81" y="6"/>
                      </a:lnTo>
                      <a:lnTo>
                        <a:pt x="99" y="6"/>
                      </a:lnTo>
                      <a:lnTo>
                        <a:pt x="116" y="6"/>
                      </a:lnTo>
                      <a:lnTo>
                        <a:pt x="128" y="6"/>
                      </a:lnTo>
                      <a:lnTo>
                        <a:pt x="145" y="6"/>
                      </a:lnTo>
                      <a:lnTo>
                        <a:pt x="180" y="0"/>
                      </a:lnTo>
                      <a:lnTo>
                        <a:pt x="192" y="0"/>
                      </a:lnTo>
                      <a:lnTo>
                        <a:pt x="238" y="0"/>
                      </a:lnTo>
                      <a:lnTo>
                        <a:pt x="250" y="0"/>
                      </a:lnTo>
                      <a:lnTo>
                        <a:pt x="256" y="0"/>
                      </a:lnTo>
                      <a:lnTo>
                        <a:pt x="267" y="0"/>
                      </a:lnTo>
                      <a:lnTo>
                        <a:pt x="273" y="0"/>
                      </a:lnTo>
                      <a:lnTo>
                        <a:pt x="279" y="0"/>
                      </a:lnTo>
                      <a:lnTo>
                        <a:pt x="285" y="46"/>
                      </a:lnTo>
                      <a:lnTo>
                        <a:pt x="296" y="41"/>
                      </a:lnTo>
                      <a:lnTo>
                        <a:pt x="290" y="46"/>
                      </a:lnTo>
                      <a:lnTo>
                        <a:pt x="296" y="58"/>
                      </a:lnTo>
                      <a:lnTo>
                        <a:pt x="285" y="58"/>
                      </a:lnTo>
                      <a:lnTo>
                        <a:pt x="296" y="64"/>
                      </a:lnTo>
                      <a:lnTo>
                        <a:pt x="296" y="93"/>
                      </a:lnTo>
                      <a:lnTo>
                        <a:pt x="285" y="87"/>
                      </a:lnTo>
                      <a:lnTo>
                        <a:pt x="285" y="99"/>
                      </a:lnTo>
                      <a:lnTo>
                        <a:pt x="296" y="99"/>
                      </a:lnTo>
                      <a:lnTo>
                        <a:pt x="285" y="104"/>
                      </a:lnTo>
                      <a:lnTo>
                        <a:pt x="290" y="110"/>
                      </a:lnTo>
                      <a:lnTo>
                        <a:pt x="279" y="128"/>
                      </a:lnTo>
                      <a:lnTo>
                        <a:pt x="273" y="145"/>
                      </a:lnTo>
                      <a:lnTo>
                        <a:pt x="267" y="145"/>
                      </a:lnTo>
                      <a:lnTo>
                        <a:pt x="261" y="145"/>
                      </a:lnTo>
                      <a:lnTo>
                        <a:pt x="256" y="157"/>
                      </a:lnTo>
                      <a:lnTo>
                        <a:pt x="256" y="186"/>
                      </a:lnTo>
                      <a:lnTo>
                        <a:pt x="244" y="209"/>
                      </a:lnTo>
                      <a:lnTo>
                        <a:pt x="244" y="215"/>
                      </a:lnTo>
                      <a:lnTo>
                        <a:pt x="244" y="232"/>
                      </a:lnTo>
                      <a:lnTo>
                        <a:pt x="267" y="232"/>
                      </a:lnTo>
                      <a:lnTo>
                        <a:pt x="279" y="226"/>
                      </a:lnTo>
                      <a:lnTo>
                        <a:pt x="290" y="226"/>
                      </a:lnTo>
                      <a:close/>
                    </a:path>
                  </a:pathLst>
                </a:custGeom>
                <a:solidFill>
                  <a:srgbClr val="ED7D31">
                    <a:lumMod val="60000"/>
                    <a:lumOff val="4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53" name="Freeform 52"/>
                <p:cNvSpPr>
                  <a:spLocks/>
                </p:cNvSpPr>
                <p:nvPr/>
              </p:nvSpPr>
              <p:spPr bwMode="auto">
                <a:xfrm>
                  <a:off x="3923465" y="3025126"/>
                  <a:ext cx="738188" cy="653874"/>
                </a:xfrm>
                <a:custGeom>
                  <a:avLst/>
                  <a:gdLst>
                    <a:gd name="T0" fmla="*/ 18 w 465"/>
                    <a:gd name="T1" fmla="*/ 110 h 412"/>
                    <a:gd name="T2" fmla="*/ 18 w 465"/>
                    <a:gd name="T3" fmla="*/ 133 h 412"/>
                    <a:gd name="T4" fmla="*/ 18 w 465"/>
                    <a:gd name="T5" fmla="*/ 157 h 412"/>
                    <a:gd name="T6" fmla="*/ 18 w 465"/>
                    <a:gd name="T7" fmla="*/ 220 h 412"/>
                    <a:gd name="T8" fmla="*/ 18 w 465"/>
                    <a:gd name="T9" fmla="*/ 249 h 412"/>
                    <a:gd name="T10" fmla="*/ 18 w 465"/>
                    <a:gd name="T11" fmla="*/ 290 h 412"/>
                    <a:gd name="T12" fmla="*/ 18 w 465"/>
                    <a:gd name="T13" fmla="*/ 342 h 412"/>
                    <a:gd name="T14" fmla="*/ 64 w 465"/>
                    <a:gd name="T15" fmla="*/ 354 h 412"/>
                    <a:gd name="T16" fmla="*/ 64 w 465"/>
                    <a:gd name="T17" fmla="*/ 389 h 412"/>
                    <a:gd name="T18" fmla="*/ 70 w 465"/>
                    <a:gd name="T19" fmla="*/ 412 h 412"/>
                    <a:gd name="T20" fmla="*/ 99 w 465"/>
                    <a:gd name="T21" fmla="*/ 412 h 412"/>
                    <a:gd name="T22" fmla="*/ 134 w 465"/>
                    <a:gd name="T23" fmla="*/ 412 h 412"/>
                    <a:gd name="T24" fmla="*/ 163 w 465"/>
                    <a:gd name="T25" fmla="*/ 412 h 412"/>
                    <a:gd name="T26" fmla="*/ 209 w 465"/>
                    <a:gd name="T27" fmla="*/ 412 h 412"/>
                    <a:gd name="T28" fmla="*/ 302 w 465"/>
                    <a:gd name="T29" fmla="*/ 406 h 412"/>
                    <a:gd name="T30" fmla="*/ 331 w 465"/>
                    <a:gd name="T31" fmla="*/ 406 h 412"/>
                    <a:gd name="T32" fmla="*/ 343 w 465"/>
                    <a:gd name="T33" fmla="*/ 360 h 412"/>
                    <a:gd name="T34" fmla="*/ 331 w 465"/>
                    <a:gd name="T35" fmla="*/ 354 h 412"/>
                    <a:gd name="T36" fmla="*/ 343 w 465"/>
                    <a:gd name="T37" fmla="*/ 325 h 412"/>
                    <a:gd name="T38" fmla="*/ 343 w 465"/>
                    <a:gd name="T39" fmla="*/ 290 h 412"/>
                    <a:gd name="T40" fmla="*/ 366 w 465"/>
                    <a:gd name="T41" fmla="*/ 261 h 412"/>
                    <a:gd name="T42" fmla="*/ 378 w 465"/>
                    <a:gd name="T43" fmla="*/ 244 h 412"/>
                    <a:gd name="T44" fmla="*/ 383 w 465"/>
                    <a:gd name="T45" fmla="*/ 215 h 412"/>
                    <a:gd name="T46" fmla="*/ 395 w 465"/>
                    <a:gd name="T47" fmla="*/ 209 h 412"/>
                    <a:gd name="T48" fmla="*/ 395 w 465"/>
                    <a:gd name="T49" fmla="*/ 197 h 412"/>
                    <a:gd name="T50" fmla="*/ 412 w 465"/>
                    <a:gd name="T51" fmla="*/ 180 h 412"/>
                    <a:gd name="T52" fmla="*/ 430 w 465"/>
                    <a:gd name="T53" fmla="*/ 157 h 412"/>
                    <a:gd name="T54" fmla="*/ 424 w 465"/>
                    <a:gd name="T55" fmla="*/ 128 h 412"/>
                    <a:gd name="T56" fmla="*/ 430 w 465"/>
                    <a:gd name="T57" fmla="*/ 110 h 412"/>
                    <a:gd name="T58" fmla="*/ 441 w 465"/>
                    <a:gd name="T59" fmla="*/ 81 h 412"/>
                    <a:gd name="T60" fmla="*/ 453 w 465"/>
                    <a:gd name="T61" fmla="*/ 52 h 412"/>
                    <a:gd name="T62" fmla="*/ 407 w 465"/>
                    <a:gd name="T63" fmla="*/ 58 h 412"/>
                    <a:gd name="T64" fmla="*/ 401 w 465"/>
                    <a:gd name="T65" fmla="*/ 46 h 412"/>
                    <a:gd name="T66" fmla="*/ 418 w 465"/>
                    <a:gd name="T67" fmla="*/ 29 h 412"/>
                    <a:gd name="T68" fmla="*/ 401 w 465"/>
                    <a:gd name="T69" fmla="*/ 0 h 412"/>
                    <a:gd name="T70" fmla="*/ 354 w 465"/>
                    <a:gd name="T71" fmla="*/ 6 h 412"/>
                    <a:gd name="T72" fmla="*/ 325 w 465"/>
                    <a:gd name="T73" fmla="*/ 6 h 412"/>
                    <a:gd name="T74" fmla="*/ 291 w 465"/>
                    <a:gd name="T75" fmla="*/ 6 h 412"/>
                    <a:gd name="T76" fmla="*/ 267 w 465"/>
                    <a:gd name="T77" fmla="*/ 6 h 412"/>
                    <a:gd name="T78" fmla="*/ 227 w 465"/>
                    <a:gd name="T79" fmla="*/ 12 h 412"/>
                    <a:gd name="T80" fmla="*/ 192 w 465"/>
                    <a:gd name="T81" fmla="*/ 12 h 412"/>
                    <a:gd name="T82" fmla="*/ 163 w 465"/>
                    <a:gd name="T83" fmla="*/ 12 h 412"/>
                    <a:gd name="T84" fmla="*/ 122 w 465"/>
                    <a:gd name="T85" fmla="*/ 12 h 412"/>
                    <a:gd name="T86" fmla="*/ 99 w 465"/>
                    <a:gd name="T87" fmla="*/ 17 h 412"/>
                    <a:gd name="T88" fmla="*/ 70 w 465"/>
                    <a:gd name="T89" fmla="*/ 17 h 412"/>
                    <a:gd name="T90" fmla="*/ 53 w 465"/>
                    <a:gd name="T91" fmla="*/ 17 h 412"/>
                    <a:gd name="T92" fmla="*/ 0 w 465"/>
                    <a:gd name="T93" fmla="*/ 17 h 412"/>
                    <a:gd name="T94" fmla="*/ 6 w 465"/>
                    <a:gd name="T95" fmla="*/ 58 h 412"/>
                    <a:gd name="T96" fmla="*/ 12 w 465"/>
                    <a:gd name="T97" fmla="*/ 99 h 412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465"/>
                    <a:gd name="T148" fmla="*/ 0 h 412"/>
                    <a:gd name="T149" fmla="*/ 465 w 465"/>
                    <a:gd name="T150" fmla="*/ 412 h 412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465" h="412">
                      <a:moveTo>
                        <a:pt x="12" y="99"/>
                      </a:moveTo>
                      <a:lnTo>
                        <a:pt x="18" y="104"/>
                      </a:lnTo>
                      <a:lnTo>
                        <a:pt x="18" y="110"/>
                      </a:lnTo>
                      <a:lnTo>
                        <a:pt x="18" y="116"/>
                      </a:lnTo>
                      <a:lnTo>
                        <a:pt x="18" y="128"/>
                      </a:lnTo>
                      <a:lnTo>
                        <a:pt x="18" y="133"/>
                      </a:lnTo>
                      <a:lnTo>
                        <a:pt x="18" y="139"/>
                      </a:lnTo>
                      <a:lnTo>
                        <a:pt x="18" y="145"/>
                      </a:lnTo>
                      <a:lnTo>
                        <a:pt x="18" y="157"/>
                      </a:lnTo>
                      <a:lnTo>
                        <a:pt x="18" y="197"/>
                      </a:lnTo>
                      <a:lnTo>
                        <a:pt x="18" y="203"/>
                      </a:lnTo>
                      <a:lnTo>
                        <a:pt x="18" y="220"/>
                      </a:lnTo>
                      <a:lnTo>
                        <a:pt x="18" y="226"/>
                      </a:lnTo>
                      <a:lnTo>
                        <a:pt x="18" y="244"/>
                      </a:lnTo>
                      <a:lnTo>
                        <a:pt x="18" y="249"/>
                      </a:lnTo>
                      <a:lnTo>
                        <a:pt x="18" y="273"/>
                      </a:lnTo>
                      <a:lnTo>
                        <a:pt x="18" y="278"/>
                      </a:lnTo>
                      <a:lnTo>
                        <a:pt x="18" y="290"/>
                      </a:lnTo>
                      <a:lnTo>
                        <a:pt x="18" y="307"/>
                      </a:lnTo>
                      <a:lnTo>
                        <a:pt x="18" y="313"/>
                      </a:lnTo>
                      <a:lnTo>
                        <a:pt x="18" y="342"/>
                      </a:lnTo>
                      <a:lnTo>
                        <a:pt x="29" y="354"/>
                      </a:lnTo>
                      <a:lnTo>
                        <a:pt x="41" y="348"/>
                      </a:lnTo>
                      <a:lnTo>
                        <a:pt x="64" y="354"/>
                      </a:lnTo>
                      <a:lnTo>
                        <a:pt x="64" y="371"/>
                      </a:lnTo>
                      <a:lnTo>
                        <a:pt x="64" y="383"/>
                      </a:lnTo>
                      <a:lnTo>
                        <a:pt x="64" y="389"/>
                      </a:lnTo>
                      <a:lnTo>
                        <a:pt x="64" y="400"/>
                      </a:lnTo>
                      <a:lnTo>
                        <a:pt x="64" y="412"/>
                      </a:lnTo>
                      <a:lnTo>
                        <a:pt x="70" y="412"/>
                      </a:lnTo>
                      <a:lnTo>
                        <a:pt x="76" y="412"/>
                      </a:lnTo>
                      <a:lnTo>
                        <a:pt x="87" y="412"/>
                      </a:lnTo>
                      <a:lnTo>
                        <a:pt x="99" y="412"/>
                      </a:lnTo>
                      <a:lnTo>
                        <a:pt x="111" y="412"/>
                      </a:lnTo>
                      <a:lnTo>
                        <a:pt x="116" y="412"/>
                      </a:lnTo>
                      <a:lnTo>
                        <a:pt x="134" y="412"/>
                      </a:lnTo>
                      <a:lnTo>
                        <a:pt x="140" y="412"/>
                      </a:lnTo>
                      <a:lnTo>
                        <a:pt x="145" y="412"/>
                      </a:lnTo>
                      <a:lnTo>
                        <a:pt x="163" y="412"/>
                      </a:lnTo>
                      <a:lnTo>
                        <a:pt x="180" y="412"/>
                      </a:lnTo>
                      <a:lnTo>
                        <a:pt x="192" y="412"/>
                      </a:lnTo>
                      <a:lnTo>
                        <a:pt x="209" y="412"/>
                      </a:lnTo>
                      <a:lnTo>
                        <a:pt x="244" y="406"/>
                      </a:lnTo>
                      <a:lnTo>
                        <a:pt x="256" y="406"/>
                      </a:lnTo>
                      <a:lnTo>
                        <a:pt x="302" y="406"/>
                      </a:lnTo>
                      <a:lnTo>
                        <a:pt x="314" y="406"/>
                      </a:lnTo>
                      <a:lnTo>
                        <a:pt x="320" y="406"/>
                      </a:lnTo>
                      <a:lnTo>
                        <a:pt x="331" y="406"/>
                      </a:lnTo>
                      <a:lnTo>
                        <a:pt x="337" y="406"/>
                      </a:lnTo>
                      <a:lnTo>
                        <a:pt x="343" y="406"/>
                      </a:lnTo>
                      <a:lnTo>
                        <a:pt x="343" y="360"/>
                      </a:lnTo>
                      <a:lnTo>
                        <a:pt x="337" y="360"/>
                      </a:lnTo>
                      <a:lnTo>
                        <a:pt x="343" y="348"/>
                      </a:lnTo>
                      <a:lnTo>
                        <a:pt x="331" y="354"/>
                      </a:lnTo>
                      <a:lnTo>
                        <a:pt x="337" y="348"/>
                      </a:lnTo>
                      <a:lnTo>
                        <a:pt x="331" y="342"/>
                      </a:lnTo>
                      <a:lnTo>
                        <a:pt x="343" y="325"/>
                      </a:lnTo>
                      <a:lnTo>
                        <a:pt x="343" y="313"/>
                      </a:lnTo>
                      <a:lnTo>
                        <a:pt x="354" y="319"/>
                      </a:lnTo>
                      <a:lnTo>
                        <a:pt x="343" y="290"/>
                      </a:lnTo>
                      <a:lnTo>
                        <a:pt x="349" y="290"/>
                      </a:lnTo>
                      <a:lnTo>
                        <a:pt x="354" y="278"/>
                      </a:lnTo>
                      <a:lnTo>
                        <a:pt x="366" y="261"/>
                      </a:lnTo>
                      <a:lnTo>
                        <a:pt x="372" y="255"/>
                      </a:lnTo>
                      <a:lnTo>
                        <a:pt x="372" y="249"/>
                      </a:lnTo>
                      <a:lnTo>
                        <a:pt x="378" y="244"/>
                      </a:lnTo>
                      <a:lnTo>
                        <a:pt x="378" y="249"/>
                      </a:lnTo>
                      <a:lnTo>
                        <a:pt x="389" y="226"/>
                      </a:lnTo>
                      <a:lnTo>
                        <a:pt x="383" y="215"/>
                      </a:lnTo>
                      <a:lnTo>
                        <a:pt x="389" y="209"/>
                      </a:lnTo>
                      <a:lnTo>
                        <a:pt x="389" y="215"/>
                      </a:lnTo>
                      <a:lnTo>
                        <a:pt x="395" y="209"/>
                      </a:lnTo>
                      <a:lnTo>
                        <a:pt x="389" y="203"/>
                      </a:lnTo>
                      <a:lnTo>
                        <a:pt x="395" y="203"/>
                      </a:lnTo>
                      <a:lnTo>
                        <a:pt x="395" y="197"/>
                      </a:lnTo>
                      <a:lnTo>
                        <a:pt x="401" y="191"/>
                      </a:lnTo>
                      <a:lnTo>
                        <a:pt x="412" y="186"/>
                      </a:lnTo>
                      <a:lnTo>
                        <a:pt x="412" y="180"/>
                      </a:lnTo>
                      <a:lnTo>
                        <a:pt x="407" y="174"/>
                      </a:lnTo>
                      <a:lnTo>
                        <a:pt x="424" y="157"/>
                      </a:lnTo>
                      <a:lnTo>
                        <a:pt x="430" y="157"/>
                      </a:lnTo>
                      <a:lnTo>
                        <a:pt x="424" y="128"/>
                      </a:lnTo>
                      <a:lnTo>
                        <a:pt x="424" y="122"/>
                      </a:lnTo>
                      <a:lnTo>
                        <a:pt x="424" y="128"/>
                      </a:lnTo>
                      <a:lnTo>
                        <a:pt x="418" y="128"/>
                      </a:lnTo>
                      <a:lnTo>
                        <a:pt x="424" y="122"/>
                      </a:lnTo>
                      <a:lnTo>
                        <a:pt x="430" y="110"/>
                      </a:lnTo>
                      <a:lnTo>
                        <a:pt x="436" y="104"/>
                      </a:lnTo>
                      <a:lnTo>
                        <a:pt x="441" y="110"/>
                      </a:lnTo>
                      <a:lnTo>
                        <a:pt x="441" y="81"/>
                      </a:lnTo>
                      <a:lnTo>
                        <a:pt x="453" y="64"/>
                      </a:lnTo>
                      <a:lnTo>
                        <a:pt x="465" y="64"/>
                      </a:lnTo>
                      <a:lnTo>
                        <a:pt x="453" y="52"/>
                      </a:lnTo>
                      <a:lnTo>
                        <a:pt x="436" y="58"/>
                      </a:lnTo>
                      <a:lnTo>
                        <a:pt x="412" y="58"/>
                      </a:lnTo>
                      <a:lnTo>
                        <a:pt x="407" y="58"/>
                      </a:lnTo>
                      <a:lnTo>
                        <a:pt x="401" y="58"/>
                      </a:lnTo>
                      <a:lnTo>
                        <a:pt x="395" y="58"/>
                      </a:lnTo>
                      <a:lnTo>
                        <a:pt x="401" y="46"/>
                      </a:lnTo>
                      <a:lnTo>
                        <a:pt x="407" y="46"/>
                      </a:lnTo>
                      <a:lnTo>
                        <a:pt x="412" y="35"/>
                      </a:lnTo>
                      <a:lnTo>
                        <a:pt x="418" y="29"/>
                      </a:lnTo>
                      <a:lnTo>
                        <a:pt x="412" y="0"/>
                      </a:lnTo>
                      <a:lnTo>
                        <a:pt x="407" y="0"/>
                      </a:lnTo>
                      <a:lnTo>
                        <a:pt x="401" y="0"/>
                      </a:lnTo>
                      <a:lnTo>
                        <a:pt x="372" y="0"/>
                      </a:lnTo>
                      <a:lnTo>
                        <a:pt x="360" y="6"/>
                      </a:lnTo>
                      <a:lnTo>
                        <a:pt x="354" y="6"/>
                      </a:lnTo>
                      <a:lnTo>
                        <a:pt x="343" y="6"/>
                      </a:lnTo>
                      <a:lnTo>
                        <a:pt x="337" y="6"/>
                      </a:lnTo>
                      <a:lnTo>
                        <a:pt x="325" y="6"/>
                      </a:lnTo>
                      <a:lnTo>
                        <a:pt x="314" y="6"/>
                      </a:lnTo>
                      <a:lnTo>
                        <a:pt x="296" y="6"/>
                      </a:lnTo>
                      <a:lnTo>
                        <a:pt x="291" y="6"/>
                      </a:lnTo>
                      <a:lnTo>
                        <a:pt x="285" y="6"/>
                      </a:lnTo>
                      <a:lnTo>
                        <a:pt x="273" y="6"/>
                      </a:lnTo>
                      <a:lnTo>
                        <a:pt x="267" y="6"/>
                      </a:lnTo>
                      <a:lnTo>
                        <a:pt x="244" y="12"/>
                      </a:lnTo>
                      <a:lnTo>
                        <a:pt x="232" y="12"/>
                      </a:lnTo>
                      <a:lnTo>
                        <a:pt x="227" y="12"/>
                      </a:lnTo>
                      <a:lnTo>
                        <a:pt x="209" y="12"/>
                      </a:lnTo>
                      <a:lnTo>
                        <a:pt x="203" y="12"/>
                      </a:lnTo>
                      <a:lnTo>
                        <a:pt x="192" y="12"/>
                      </a:lnTo>
                      <a:lnTo>
                        <a:pt x="174" y="12"/>
                      </a:lnTo>
                      <a:lnTo>
                        <a:pt x="169" y="12"/>
                      </a:lnTo>
                      <a:lnTo>
                        <a:pt x="163" y="12"/>
                      </a:lnTo>
                      <a:lnTo>
                        <a:pt x="145" y="12"/>
                      </a:lnTo>
                      <a:lnTo>
                        <a:pt x="134" y="12"/>
                      </a:lnTo>
                      <a:lnTo>
                        <a:pt x="122" y="12"/>
                      </a:lnTo>
                      <a:lnTo>
                        <a:pt x="116" y="12"/>
                      </a:lnTo>
                      <a:lnTo>
                        <a:pt x="111" y="12"/>
                      </a:lnTo>
                      <a:lnTo>
                        <a:pt x="99" y="17"/>
                      </a:lnTo>
                      <a:lnTo>
                        <a:pt x="87" y="17"/>
                      </a:lnTo>
                      <a:lnTo>
                        <a:pt x="76" y="17"/>
                      </a:lnTo>
                      <a:lnTo>
                        <a:pt x="70" y="17"/>
                      </a:lnTo>
                      <a:lnTo>
                        <a:pt x="64" y="17"/>
                      </a:lnTo>
                      <a:lnTo>
                        <a:pt x="58" y="17"/>
                      </a:lnTo>
                      <a:lnTo>
                        <a:pt x="53" y="17"/>
                      </a:lnTo>
                      <a:lnTo>
                        <a:pt x="24" y="17"/>
                      </a:lnTo>
                      <a:lnTo>
                        <a:pt x="12" y="17"/>
                      </a:lnTo>
                      <a:lnTo>
                        <a:pt x="0" y="17"/>
                      </a:lnTo>
                      <a:lnTo>
                        <a:pt x="0" y="29"/>
                      </a:lnTo>
                      <a:lnTo>
                        <a:pt x="6" y="41"/>
                      </a:lnTo>
                      <a:lnTo>
                        <a:pt x="6" y="58"/>
                      </a:lnTo>
                      <a:lnTo>
                        <a:pt x="6" y="64"/>
                      </a:lnTo>
                      <a:lnTo>
                        <a:pt x="12" y="87"/>
                      </a:lnTo>
                      <a:lnTo>
                        <a:pt x="12" y="99"/>
                      </a:lnTo>
                      <a:close/>
                    </a:path>
                  </a:pathLst>
                </a:custGeom>
                <a:solidFill>
                  <a:srgbClr val="ED7D31">
                    <a:lumMod val="60000"/>
                    <a:lumOff val="4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54" name="Freeform 53"/>
                <p:cNvSpPr>
                  <a:spLocks/>
                </p:cNvSpPr>
                <p:nvPr/>
              </p:nvSpPr>
              <p:spPr bwMode="auto">
                <a:xfrm>
                  <a:off x="4412415" y="3273932"/>
                  <a:ext cx="562433" cy="891936"/>
                </a:xfrm>
                <a:custGeom>
                  <a:avLst/>
                  <a:gdLst>
                    <a:gd name="T0" fmla="*/ 35 w 325"/>
                    <a:gd name="T1" fmla="*/ 377 h 562"/>
                    <a:gd name="T2" fmla="*/ 52 w 325"/>
                    <a:gd name="T3" fmla="*/ 348 h 562"/>
                    <a:gd name="T4" fmla="*/ 52 w 325"/>
                    <a:gd name="T5" fmla="*/ 342 h 562"/>
                    <a:gd name="T6" fmla="*/ 52 w 325"/>
                    <a:gd name="T7" fmla="*/ 307 h 562"/>
                    <a:gd name="T8" fmla="*/ 41 w 325"/>
                    <a:gd name="T9" fmla="*/ 295 h 562"/>
                    <a:gd name="T10" fmla="*/ 29 w 325"/>
                    <a:gd name="T11" fmla="*/ 203 h 562"/>
                    <a:gd name="T12" fmla="*/ 29 w 325"/>
                    <a:gd name="T13" fmla="*/ 191 h 562"/>
                    <a:gd name="T14" fmla="*/ 35 w 325"/>
                    <a:gd name="T15" fmla="*/ 156 h 562"/>
                    <a:gd name="T16" fmla="*/ 41 w 325"/>
                    <a:gd name="T17" fmla="*/ 133 h 562"/>
                    <a:gd name="T18" fmla="*/ 64 w 325"/>
                    <a:gd name="T19" fmla="*/ 98 h 562"/>
                    <a:gd name="T20" fmla="*/ 70 w 325"/>
                    <a:gd name="T21" fmla="*/ 92 h 562"/>
                    <a:gd name="T22" fmla="*/ 81 w 325"/>
                    <a:gd name="T23" fmla="*/ 52 h 562"/>
                    <a:gd name="T24" fmla="*/ 81 w 325"/>
                    <a:gd name="T25" fmla="*/ 46 h 562"/>
                    <a:gd name="T26" fmla="*/ 93 w 325"/>
                    <a:gd name="T27" fmla="*/ 34 h 562"/>
                    <a:gd name="T28" fmla="*/ 99 w 325"/>
                    <a:gd name="T29" fmla="*/ 17 h 562"/>
                    <a:gd name="T30" fmla="*/ 157 w 325"/>
                    <a:gd name="T31" fmla="*/ 11 h 562"/>
                    <a:gd name="T32" fmla="*/ 180 w 325"/>
                    <a:gd name="T33" fmla="*/ 11 h 562"/>
                    <a:gd name="T34" fmla="*/ 197 w 325"/>
                    <a:gd name="T35" fmla="*/ 5 h 562"/>
                    <a:gd name="T36" fmla="*/ 220 w 325"/>
                    <a:gd name="T37" fmla="*/ 5 h 562"/>
                    <a:gd name="T38" fmla="*/ 238 w 325"/>
                    <a:gd name="T39" fmla="*/ 5 h 562"/>
                    <a:gd name="T40" fmla="*/ 261 w 325"/>
                    <a:gd name="T41" fmla="*/ 5 h 562"/>
                    <a:gd name="T42" fmla="*/ 308 w 325"/>
                    <a:gd name="T43" fmla="*/ 11 h 562"/>
                    <a:gd name="T44" fmla="*/ 308 w 325"/>
                    <a:gd name="T45" fmla="*/ 46 h 562"/>
                    <a:gd name="T46" fmla="*/ 308 w 325"/>
                    <a:gd name="T47" fmla="*/ 69 h 562"/>
                    <a:gd name="T48" fmla="*/ 308 w 325"/>
                    <a:gd name="T49" fmla="*/ 104 h 562"/>
                    <a:gd name="T50" fmla="*/ 308 w 325"/>
                    <a:gd name="T51" fmla="*/ 145 h 562"/>
                    <a:gd name="T52" fmla="*/ 308 w 325"/>
                    <a:gd name="T53" fmla="*/ 179 h 562"/>
                    <a:gd name="T54" fmla="*/ 308 w 325"/>
                    <a:gd name="T55" fmla="*/ 232 h 562"/>
                    <a:gd name="T56" fmla="*/ 308 w 325"/>
                    <a:gd name="T57" fmla="*/ 266 h 562"/>
                    <a:gd name="T58" fmla="*/ 308 w 325"/>
                    <a:gd name="T59" fmla="*/ 301 h 562"/>
                    <a:gd name="T60" fmla="*/ 302 w 325"/>
                    <a:gd name="T61" fmla="*/ 319 h 562"/>
                    <a:gd name="T62" fmla="*/ 302 w 325"/>
                    <a:gd name="T63" fmla="*/ 359 h 562"/>
                    <a:gd name="T64" fmla="*/ 308 w 325"/>
                    <a:gd name="T65" fmla="*/ 406 h 562"/>
                    <a:gd name="T66" fmla="*/ 313 w 325"/>
                    <a:gd name="T67" fmla="*/ 429 h 562"/>
                    <a:gd name="T68" fmla="*/ 319 w 325"/>
                    <a:gd name="T69" fmla="*/ 458 h 562"/>
                    <a:gd name="T70" fmla="*/ 325 w 325"/>
                    <a:gd name="T71" fmla="*/ 516 h 562"/>
                    <a:gd name="T72" fmla="*/ 290 w 325"/>
                    <a:gd name="T73" fmla="*/ 533 h 562"/>
                    <a:gd name="T74" fmla="*/ 267 w 325"/>
                    <a:gd name="T75" fmla="*/ 533 h 562"/>
                    <a:gd name="T76" fmla="*/ 232 w 325"/>
                    <a:gd name="T77" fmla="*/ 545 h 562"/>
                    <a:gd name="T78" fmla="*/ 203 w 325"/>
                    <a:gd name="T79" fmla="*/ 556 h 562"/>
                    <a:gd name="T80" fmla="*/ 191 w 325"/>
                    <a:gd name="T81" fmla="*/ 527 h 562"/>
                    <a:gd name="T82" fmla="*/ 186 w 325"/>
                    <a:gd name="T83" fmla="*/ 475 h 562"/>
                    <a:gd name="T84" fmla="*/ 151 w 325"/>
                    <a:gd name="T85" fmla="*/ 469 h 562"/>
                    <a:gd name="T86" fmla="*/ 128 w 325"/>
                    <a:gd name="T87" fmla="*/ 475 h 562"/>
                    <a:gd name="T88" fmla="*/ 104 w 325"/>
                    <a:gd name="T89" fmla="*/ 475 h 562"/>
                    <a:gd name="T90" fmla="*/ 81 w 325"/>
                    <a:gd name="T91" fmla="*/ 475 h 562"/>
                    <a:gd name="T92" fmla="*/ 46 w 325"/>
                    <a:gd name="T93" fmla="*/ 475 h 562"/>
                    <a:gd name="T94" fmla="*/ 0 w 325"/>
                    <a:gd name="T95" fmla="*/ 481 h 562"/>
                    <a:gd name="T96" fmla="*/ 12 w 325"/>
                    <a:gd name="T97" fmla="*/ 435 h 562"/>
                    <a:gd name="T98" fmla="*/ 23 w 325"/>
                    <a:gd name="T99" fmla="*/ 394 h 562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325"/>
                    <a:gd name="T151" fmla="*/ 0 h 562"/>
                    <a:gd name="T152" fmla="*/ 325 w 325"/>
                    <a:gd name="T153" fmla="*/ 562 h 562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325" h="562">
                      <a:moveTo>
                        <a:pt x="23" y="394"/>
                      </a:moveTo>
                      <a:lnTo>
                        <a:pt x="29" y="394"/>
                      </a:lnTo>
                      <a:lnTo>
                        <a:pt x="35" y="377"/>
                      </a:lnTo>
                      <a:lnTo>
                        <a:pt x="46" y="359"/>
                      </a:lnTo>
                      <a:lnTo>
                        <a:pt x="41" y="353"/>
                      </a:lnTo>
                      <a:lnTo>
                        <a:pt x="52" y="348"/>
                      </a:lnTo>
                      <a:lnTo>
                        <a:pt x="41" y="348"/>
                      </a:lnTo>
                      <a:lnTo>
                        <a:pt x="41" y="336"/>
                      </a:lnTo>
                      <a:lnTo>
                        <a:pt x="52" y="342"/>
                      </a:lnTo>
                      <a:lnTo>
                        <a:pt x="52" y="313"/>
                      </a:lnTo>
                      <a:lnTo>
                        <a:pt x="41" y="307"/>
                      </a:lnTo>
                      <a:lnTo>
                        <a:pt x="52" y="307"/>
                      </a:lnTo>
                      <a:lnTo>
                        <a:pt x="46" y="295"/>
                      </a:lnTo>
                      <a:lnTo>
                        <a:pt x="52" y="290"/>
                      </a:lnTo>
                      <a:lnTo>
                        <a:pt x="41" y="295"/>
                      </a:lnTo>
                      <a:lnTo>
                        <a:pt x="35" y="249"/>
                      </a:lnTo>
                      <a:lnTo>
                        <a:pt x="35" y="203"/>
                      </a:lnTo>
                      <a:lnTo>
                        <a:pt x="29" y="203"/>
                      </a:lnTo>
                      <a:lnTo>
                        <a:pt x="35" y="191"/>
                      </a:lnTo>
                      <a:lnTo>
                        <a:pt x="23" y="197"/>
                      </a:lnTo>
                      <a:lnTo>
                        <a:pt x="29" y="191"/>
                      </a:lnTo>
                      <a:lnTo>
                        <a:pt x="23" y="185"/>
                      </a:lnTo>
                      <a:lnTo>
                        <a:pt x="35" y="168"/>
                      </a:lnTo>
                      <a:lnTo>
                        <a:pt x="35" y="156"/>
                      </a:lnTo>
                      <a:lnTo>
                        <a:pt x="46" y="162"/>
                      </a:lnTo>
                      <a:lnTo>
                        <a:pt x="35" y="133"/>
                      </a:lnTo>
                      <a:lnTo>
                        <a:pt x="41" y="133"/>
                      </a:lnTo>
                      <a:lnTo>
                        <a:pt x="46" y="121"/>
                      </a:lnTo>
                      <a:lnTo>
                        <a:pt x="58" y="104"/>
                      </a:lnTo>
                      <a:lnTo>
                        <a:pt x="64" y="98"/>
                      </a:lnTo>
                      <a:lnTo>
                        <a:pt x="64" y="92"/>
                      </a:lnTo>
                      <a:lnTo>
                        <a:pt x="70" y="87"/>
                      </a:lnTo>
                      <a:lnTo>
                        <a:pt x="70" y="92"/>
                      </a:lnTo>
                      <a:lnTo>
                        <a:pt x="81" y="69"/>
                      </a:lnTo>
                      <a:lnTo>
                        <a:pt x="75" y="58"/>
                      </a:lnTo>
                      <a:lnTo>
                        <a:pt x="81" y="52"/>
                      </a:lnTo>
                      <a:lnTo>
                        <a:pt x="81" y="58"/>
                      </a:lnTo>
                      <a:lnTo>
                        <a:pt x="87" y="52"/>
                      </a:lnTo>
                      <a:lnTo>
                        <a:pt x="81" y="46"/>
                      </a:lnTo>
                      <a:lnTo>
                        <a:pt x="87" y="46"/>
                      </a:lnTo>
                      <a:lnTo>
                        <a:pt x="87" y="40"/>
                      </a:lnTo>
                      <a:lnTo>
                        <a:pt x="93" y="34"/>
                      </a:lnTo>
                      <a:lnTo>
                        <a:pt x="104" y="29"/>
                      </a:lnTo>
                      <a:lnTo>
                        <a:pt x="104" y="23"/>
                      </a:lnTo>
                      <a:lnTo>
                        <a:pt x="99" y="17"/>
                      </a:lnTo>
                      <a:lnTo>
                        <a:pt x="128" y="11"/>
                      </a:lnTo>
                      <a:lnTo>
                        <a:pt x="145" y="11"/>
                      </a:lnTo>
                      <a:lnTo>
                        <a:pt x="157" y="11"/>
                      </a:lnTo>
                      <a:lnTo>
                        <a:pt x="162" y="11"/>
                      </a:lnTo>
                      <a:lnTo>
                        <a:pt x="174" y="11"/>
                      </a:lnTo>
                      <a:lnTo>
                        <a:pt x="180" y="11"/>
                      </a:lnTo>
                      <a:lnTo>
                        <a:pt x="191" y="11"/>
                      </a:lnTo>
                      <a:lnTo>
                        <a:pt x="197" y="11"/>
                      </a:lnTo>
                      <a:lnTo>
                        <a:pt x="197" y="5"/>
                      </a:lnTo>
                      <a:lnTo>
                        <a:pt x="203" y="5"/>
                      </a:lnTo>
                      <a:lnTo>
                        <a:pt x="215" y="5"/>
                      </a:lnTo>
                      <a:lnTo>
                        <a:pt x="220" y="5"/>
                      </a:lnTo>
                      <a:lnTo>
                        <a:pt x="226" y="5"/>
                      </a:lnTo>
                      <a:lnTo>
                        <a:pt x="232" y="5"/>
                      </a:lnTo>
                      <a:lnTo>
                        <a:pt x="238" y="5"/>
                      </a:lnTo>
                      <a:lnTo>
                        <a:pt x="244" y="5"/>
                      </a:lnTo>
                      <a:lnTo>
                        <a:pt x="250" y="5"/>
                      </a:lnTo>
                      <a:lnTo>
                        <a:pt x="261" y="5"/>
                      </a:lnTo>
                      <a:lnTo>
                        <a:pt x="284" y="0"/>
                      </a:lnTo>
                      <a:lnTo>
                        <a:pt x="296" y="0"/>
                      </a:lnTo>
                      <a:lnTo>
                        <a:pt x="308" y="11"/>
                      </a:lnTo>
                      <a:lnTo>
                        <a:pt x="308" y="17"/>
                      </a:lnTo>
                      <a:lnTo>
                        <a:pt x="308" y="34"/>
                      </a:lnTo>
                      <a:lnTo>
                        <a:pt x="308" y="46"/>
                      </a:lnTo>
                      <a:lnTo>
                        <a:pt x="308" y="58"/>
                      </a:lnTo>
                      <a:lnTo>
                        <a:pt x="308" y="63"/>
                      </a:lnTo>
                      <a:lnTo>
                        <a:pt x="308" y="69"/>
                      </a:lnTo>
                      <a:lnTo>
                        <a:pt x="308" y="75"/>
                      </a:lnTo>
                      <a:lnTo>
                        <a:pt x="308" y="92"/>
                      </a:lnTo>
                      <a:lnTo>
                        <a:pt x="308" y="104"/>
                      </a:lnTo>
                      <a:lnTo>
                        <a:pt x="308" y="116"/>
                      </a:lnTo>
                      <a:lnTo>
                        <a:pt x="308" y="133"/>
                      </a:lnTo>
                      <a:lnTo>
                        <a:pt x="308" y="145"/>
                      </a:lnTo>
                      <a:lnTo>
                        <a:pt x="308" y="168"/>
                      </a:lnTo>
                      <a:lnTo>
                        <a:pt x="308" y="174"/>
                      </a:lnTo>
                      <a:lnTo>
                        <a:pt x="308" y="179"/>
                      </a:lnTo>
                      <a:lnTo>
                        <a:pt x="308" y="197"/>
                      </a:lnTo>
                      <a:lnTo>
                        <a:pt x="308" y="203"/>
                      </a:lnTo>
                      <a:lnTo>
                        <a:pt x="308" y="232"/>
                      </a:lnTo>
                      <a:lnTo>
                        <a:pt x="308" y="237"/>
                      </a:lnTo>
                      <a:lnTo>
                        <a:pt x="308" y="261"/>
                      </a:lnTo>
                      <a:lnTo>
                        <a:pt x="308" y="266"/>
                      </a:lnTo>
                      <a:lnTo>
                        <a:pt x="308" y="278"/>
                      </a:lnTo>
                      <a:lnTo>
                        <a:pt x="308" y="295"/>
                      </a:lnTo>
                      <a:lnTo>
                        <a:pt x="308" y="301"/>
                      </a:lnTo>
                      <a:lnTo>
                        <a:pt x="302" y="307"/>
                      </a:lnTo>
                      <a:lnTo>
                        <a:pt x="302" y="313"/>
                      </a:lnTo>
                      <a:lnTo>
                        <a:pt x="302" y="319"/>
                      </a:lnTo>
                      <a:lnTo>
                        <a:pt x="302" y="330"/>
                      </a:lnTo>
                      <a:lnTo>
                        <a:pt x="302" y="353"/>
                      </a:lnTo>
                      <a:lnTo>
                        <a:pt x="302" y="359"/>
                      </a:lnTo>
                      <a:lnTo>
                        <a:pt x="308" y="377"/>
                      </a:lnTo>
                      <a:lnTo>
                        <a:pt x="308" y="400"/>
                      </a:lnTo>
                      <a:lnTo>
                        <a:pt x="308" y="406"/>
                      </a:lnTo>
                      <a:lnTo>
                        <a:pt x="313" y="406"/>
                      </a:lnTo>
                      <a:lnTo>
                        <a:pt x="313" y="417"/>
                      </a:lnTo>
                      <a:lnTo>
                        <a:pt x="313" y="429"/>
                      </a:lnTo>
                      <a:lnTo>
                        <a:pt x="313" y="446"/>
                      </a:lnTo>
                      <a:lnTo>
                        <a:pt x="319" y="452"/>
                      </a:lnTo>
                      <a:lnTo>
                        <a:pt x="319" y="458"/>
                      </a:lnTo>
                      <a:lnTo>
                        <a:pt x="319" y="487"/>
                      </a:lnTo>
                      <a:lnTo>
                        <a:pt x="325" y="504"/>
                      </a:lnTo>
                      <a:lnTo>
                        <a:pt x="325" y="516"/>
                      </a:lnTo>
                      <a:lnTo>
                        <a:pt x="325" y="533"/>
                      </a:lnTo>
                      <a:lnTo>
                        <a:pt x="319" y="539"/>
                      </a:lnTo>
                      <a:lnTo>
                        <a:pt x="290" y="533"/>
                      </a:lnTo>
                      <a:lnTo>
                        <a:pt x="279" y="527"/>
                      </a:lnTo>
                      <a:lnTo>
                        <a:pt x="279" y="533"/>
                      </a:lnTo>
                      <a:lnTo>
                        <a:pt x="267" y="533"/>
                      </a:lnTo>
                      <a:lnTo>
                        <a:pt x="238" y="545"/>
                      </a:lnTo>
                      <a:lnTo>
                        <a:pt x="232" y="539"/>
                      </a:lnTo>
                      <a:lnTo>
                        <a:pt x="232" y="545"/>
                      </a:lnTo>
                      <a:lnTo>
                        <a:pt x="220" y="562"/>
                      </a:lnTo>
                      <a:lnTo>
                        <a:pt x="215" y="562"/>
                      </a:lnTo>
                      <a:lnTo>
                        <a:pt x="203" y="556"/>
                      </a:lnTo>
                      <a:lnTo>
                        <a:pt x="197" y="533"/>
                      </a:lnTo>
                      <a:lnTo>
                        <a:pt x="197" y="527"/>
                      </a:lnTo>
                      <a:lnTo>
                        <a:pt x="191" y="527"/>
                      </a:lnTo>
                      <a:lnTo>
                        <a:pt x="180" y="510"/>
                      </a:lnTo>
                      <a:lnTo>
                        <a:pt x="180" y="498"/>
                      </a:lnTo>
                      <a:lnTo>
                        <a:pt x="186" y="475"/>
                      </a:lnTo>
                      <a:lnTo>
                        <a:pt x="186" y="469"/>
                      </a:lnTo>
                      <a:lnTo>
                        <a:pt x="180" y="469"/>
                      </a:lnTo>
                      <a:lnTo>
                        <a:pt x="151" y="469"/>
                      </a:lnTo>
                      <a:lnTo>
                        <a:pt x="139" y="469"/>
                      </a:lnTo>
                      <a:lnTo>
                        <a:pt x="133" y="469"/>
                      </a:lnTo>
                      <a:lnTo>
                        <a:pt x="128" y="475"/>
                      </a:lnTo>
                      <a:lnTo>
                        <a:pt x="122" y="475"/>
                      </a:lnTo>
                      <a:lnTo>
                        <a:pt x="110" y="475"/>
                      </a:lnTo>
                      <a:lnTo>
                        <a:pt x="104" y="475"/>
                      </a:lnTo>
                      <a:lnTo>
                        <a:pt x="93" y="475"/>
                      </a:lnTo>
                      <a:lnTo>
                        <a:pt x="87" y="475"/>
                      </a:lnTo>
                      <a:lnTo>
                        <a:pt x="81" y="475"/>
                      </a:lnTo>
                      <a:lnTo>
                        <a:pt x="64" y="475"/>
                      </a:lnTo>
                      <a:lnTo>
                        <a:pt x="58" y="475"/>
                      </a:lnTo>
                      <a:lnTo>
                        <a:pt x="46" y="475"/>
                      </a:lnTo>
                      <a:lnTo>
                        <a:pt x="35" y="475"/>
                      </a:lnTo>
                      <a:lnTo>
                        <a:pt x="23" y="481"/>
                      </a:lnTo>
                      <a:lnTo>
                        <a:pt x="0" y="481"/>
                      </a:lnTo>
                      <a:lnTo>
                        <a:pt x="0" y="464"/>
                      </a:lnTo>
                      <a:lnTo>
                        <a:pt x="0" y="458"/>
                      </a:lnTo>
                      <a:lnTo>
                        <a:pt x="12" y="435"/>
                      </a:lnTo>
                      <a:lnTo>
                        <a:pt x="12" y="406"/>
                      </a:lnTo>
                      <a:lnTo>
                        <a:pt x="17" y="394"/>
                      </a:lnTo>
                      <a:lnTo>
                        <a:pt x="23" y="394"/>
                      </a:lnTo>
                      <a:close/>
                    </a:path>
                  </a:pathLst>
                </a:custGeom>
                <a:solidFill>
                  <a:srgbClr val="ED7D31">
                    <a:lumMod val="60000"/>
                    <a:lumOff val="4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55" name="Freeform 54"/>
                <p:cNvSpPr>
                  <a:spLocks/>
                </p:cNvSpPr>
                <p:nvPr/>
              </p:nvSpPr>
              <p:spPr bwMode="auto">
                <a:xfrm>
                  <a:off x="2697914" y="2923551"/>
                  <a:ext cx="1254125" cy="653874"/>
                </a:xfrm>
                <a:custGeom>
                  <a:avLst/>
                  <a:gdLst>
                    <a:gd name="T0" fmla="*/ 772 w 790"/>
                    <a:gd name="T1" fmla="*/ 81 h 412"/>
                    <a:gd name="T2" fmla="*/ 772 w 790"/>
                    <a:gd name="T3" fmla="*/ 52 h 412"/>
                    <a:gd name="T4" fmla="*/ 761 w 790"/>
                    <a:gd name="T5" fmla="*/ 23 h 412"/>
                    <a:gd name="T6" fmla="*/ 709 w 790"/>
                    <a:gd name="T7" fmla="*/ 23 h 412"/>
                    <a:gd name="T8" fmla="*/ 674 w 790"/>
                    <a:gd name="T9" fmla="*/ 23 h 412"/>
                    <a:gd name="T10" fmla="*/ 645 w 790"/>
                    <a:gd name="T11" fmla="*/ 23 h 412"/>
                    <a:gd name="T12" fmla="*/ 587 w 790"/>
                    <a:gd name="T13" fmla="*/ 23 h 412"/>
                    <a:gd name="T14" fmla="*/ 540 w 790"/>
                    <a:gd name="T15" fmla="*/ 23 h 412"/>
                    <a:gd name="T16" fmla="*/ 482 w 790"/>
                    <a:gd name="T17" fmla="*/ 23 h 412"/>
                    <a:gd name="T18" fmla="*/ 436 w 790"/>
                    <a:gd name="T19" fmla="*/ 23 h 412"/>
                    <a:gd name="T20" fmla="*/ 395 w 790"/>
                    <a:gd name="T21" fmla="*/ 23 h 412"/>
                    <a:gd name="T22" fmla="*/ 337 w 790"/>
                    <a:gd name="T23" fmla="*/ 18 h 412"/>
                    <a:gd name="T24" fmla="*/ 285 w 790"/>
                    <a:gd name="T25" fmla="*/ 18 h 412"/>
                    <a:gd name="T26" fmla="*/ 227 w 790"/>
                    <a:gd name="T27" fmla="*/ 12 h 412"/>
                    <a:gd name="T28" fmla="*/ 180 w 790"/>
                    <a:gd name="T29" fmla="*/ 12 h 412"/>
                    <a:gd name="T30" fmla="*/ 122 w 790"/>
                    <a:gd name="T31" fmla="*/ 6 h 412"/>
                    <a:gd name="T32" fmla="*/ 29 w 790"/>
                    <a:gd name="T33" fmla="*/ 0 h 412"/>
                    <a:gd name="T34" fmla="*/ 0 w 790"/>
                    <a:gd name="T35" fmla="*/ 58 h 412"/>
                    <a:gd name="T36" fmla="*/ 82 w 790"/>
                    <a:gd name="T37" fmla="*/ 64 h 412"/>
                    <a:gd name="T38" fmla="*/ 151 w 790"/>
                    <a:gd name="T39" fmla="*/ 64 h 412"/>
                    <a:gd name="T40" fmla="*/ 192 w 790"/>
                    <a:gd name="T41" fmla="*/ 70 h 412"/>
                    <a:gd name="T42" fmla="*/ 244 w 790"/>
                    <a:gd name="T43" fmla="*/ 70 h 412"/>
                    <a:gd name="T44" fmla="*/ 273 w 790"/>
                    <a:gd name="T45" fmla="*/ 128 h 412"/>
                    <a:gd name="T46" fmla="*/ 273 w 790"/>
                    <a:gd name="T47" fmla="*/ 157 h 412"/>
                    <a:gd name="T48" fmla="*/ 273 w 790"/>
                    <a:gd name="T49" fmla="*/ 197 h 412"/>
                    <a:gd name="T50" fmla="*/ 273 w 790"/>
                    <a:gd name="T51" fmla="*/ 232 h 412"/>
                    <a:gd name="T52" fmla="*/ 267 w 790"/>
                    <a:gd name="T53" fmla="*/ 273 h 412"/>
                    <a:gd name="T54" fmla="*/ 291 w 790"/>
                    <a:gd name="T55" fmla="*/ 313 h 412"/>
                    <a:gd name="T56" fmla="*/ 343 w 790"/>
                    <a:gd name="T57" fmla="*/ 337 h 412"/>
                    <a:gd name="T58" fmla="*/ 383 w 790"/>
                    <a:gd name="T59" fmla="*/ 348 h 412"/>
                    <a:gd name="T60" fmla="*/ 413 w 790"/>
                    <a:gd name="T61" fmla="*/ 354 h 412"/>
                    <a:gd name="T62" fmla="*/ 447 w 790"/>
                    <a:gd name="T63" fmla="*/ 348 h 412"/>
                    <a:gd name="T64" fmla="*/ 465 w 790"/>
                    <a:gd name="T65" fmla="*/ 383 h 412"/>
                    <a:gd name="T66" fmla="*/ 517 w 790"/>
                    <a:gd name="T67" fmla="*/ 389 h 412"/>
                    <a:gd name="T68" fmla="*/ 558 w 790"/>
                    <a:gd name="T69" fmla="*/ 371 h 412"/>
                    <a:gd name="T70" fmla="*/ 587 w 790"/>
                    <a:gd name="T71" fmla="*/ 383 h 412"/>
                    <a:gd name="T72" fmla="*/ 621 w 790"/>
                    <a:gd name="T73" fmla="*/ 395 h 412"/>
                    <a:gd name="T74" fmla="*/ 668 w 790"/>
                    <a:gd name="T75" fmla="*/ 377 h 412"/>
                    <a:gd name="T76" fmla="*/ 691 w 790"/>
                    <a:gd name="T77" fmla="*/ 377 h 412"/>
                    <a:gd name="T78" fmla="*/ 726 w 790"/>
                    <a:gd name="T79" fmla="*/ 371 h 412"/>
                    <a:gd name="T80" fmla="*/ 755 w 790"/>
                    <a:gd name="T81" fmla="*/ 395 h 412"/>
                    <a:gd name="T82" fmla="*/ 778 w 790"/>
                    <a:gd name="T83" fmla="*/ 400 h 412"/>
                    <a:gd name="T84" fmla="*/ 790 w 790"/>
                    <a:gd name="T85" fmla="*/ 371 h 412"/>
                    <a:gd name="T86" fmla="*/ 790 w 790"/>
                    <a:gd name="T87" fmla="*/ 313 h 412"/>
                    <a:gd name="T88" fmla="*/ 790 w 790"/>
                    <a:gd name="T89" fmla="*/ 267 h 412"/>
                    <a:gd name="T90" fmla="*/ 790 w 790"/>
                    <a:gd name="T91" fmla="*/ 203 h 412"/>
                    <a:gd name="T92" fmla="*/ 790 w 790"/>
                    <a:gd name="T93" fmla="*/ 174 h 412"/>
                    <a:gd name="T94" fmla="*/ 778 w 790"/>
                    <a:gd name="T95" fmla="*/ 128 h 412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790"/>
                    <a:gd name="T145" fmla="*/ 0 h 412"/>
                    <a:gd name="T146" fmla="*/ 790 w 790"/>
                    <a:gd name="T147" fmla="*/ 412 h 412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790" h="412">
                      <a:moveTo>
                        <a:pt x="778" y="122"/>
                      </a:moveTo>
                      <a:lnTo>
                        <a:pt x="778" y="105"/>
                      </a:lnTo>
                      <a:lnTo>
                        <a:pt x="772" y="93"/>
                      </a:lnTo>
                      <a:lnTo>
                        <a:pt x="772" y="81"/>
                      </a:lnTo>
                      <a:lnTo>
                        <a:pt x="772" y="70"/>
                      </a:lnTo>
                      <a:lnTo>
                        <a:pt x="772" y="64"/>
                      </a:lnTo>
                      <a:lnTo>
                        <a:pt x="772" y="58"/>
                      </a:lnTo>
                      <a:lnTo>
                        <a:pt x="772" y="52"/>
                      </a:lnTo>
                      <a:lnTo>
                        <a:pt x="772" y="41"/>
                      </a:lnTo>
                      <a:lnTo>
                        <a:pt x="772" y="29"/>
                      </a:lnTo>
                      <a:lnTo>
                        <a:pt x="772" y="23"/>
                      </a:lnTo>
                      <a:lnTo>
                        <a:pt x="761" y="23"/>
                      </a:lnTo>
                      <a:lnTo>
                        <a:pt x="738" y="23"/>
                      </a:lnTo>
                      <a:lnTo>
                        <a:pt x="732" y="23"/>
                      </a:lnTo>
                      <a:lnTo>
                        <a:pt x="714" y="23"/>
                      </a:lnTo>
                      <a:lnTo>
                        <a:pt x="709" y="23"/>
                      </a:lnTo>
                      <a:lnTo>
                        <a:pt x="703" y="23"/>
                      </a:lnTo>
                      <a:lnTo>
                        <a:pt x="691" y="23"/>
                      </a:lnTo>
                      <a:lnTo>
                        <a:pt x="679" y="23"/>
                      </a:lnTo>
                      <a:lnTo>
                        <a:pt x="674" y="23"/>
                      </a:lnTo>
                      <a:lnTo>
                        <a:pt x="668" y="23"/>
                      </a:lnTo>
                      <a:lnTo>
                        <a:pt x="656" y="23"/>
                      </a:lnTo>
                      <a:lnTo>
                        <a:pt x="650" y="23"/>
                      </a:lnTo>
                      <a:lnTo>
                        <a:pt x="645" y="23"/>
                      </a:lnTo>
                      <a:lnTo>
                        <a:pt x="633" y="23"/>
                      </a:lnTo>
                      <a:lnTo>
                        <a:pt x="604" y="23"/>
                      </a:lnTo>
                      <a:lnTo>
                        <a:pt x="598" y="23"/>
                      </a:lnTo>
                      <a:lnTo>
                        <a:pt x="587" y="23"/>
                      </a:lnTo>
                      <a:lnTo>
                        <a:pt x="575" y="23"/>
                      </a:lnTo>
                      <a:lnTo>
                        <a:pt x="563" y="23"/>
                      </a:lnTo>
                      <a:lnTo>
                        <a:pt x="552" y="23"/>
                      </a:lnTo>
                      <a:lnTo>
                        <a:pt x="540" y="23"/>
                      </a:lnTo>
                      <a:lnTo>
                        <a:pt x="523" y="23"/>
                      </a:lnTo>
                      <a:lnTo>
                        <a:pt x="511" y="23"/>
                      </a:lnTo>
                      <a:lnTo>
                        <a:pt x="494" y="23"/>
                      </a:lnTo>
                      <a:lnTo>
                        <a:pt x="482" y="23"/>
                      </a:lnTo>
                      <a:lnTo>
                        <a:pt x="465" y="23"/>
                      </a:lnTo>
                      <a:lnTo>
                        <a:pt x="459" y="23"/>
                      </a:lnTo>
                      <a:lnTo>
                        <a:pt x="453" y="23"/>
                      </a:lnTo>
                      <a:lnTo>
                        <a:pt x="436" y="23"/>
                      </a:lnTo>
                      <a:lnTo>
                        <a:pt x="430" y="23"/>
                      </a:lnTo>
                      <a:lnTo>
                        <a:pt x="418" y="23"/>
                      </a:lnTo>
                      <a:lnTo>
                        <a:pt x="413" y="23"/>
                      </a:lnTo>
                      <a:lnTo>
                        <a:pt x="395" y="23"/>
                      </a:lnTo>
                      <a:lnTo>
                        <a:pt x="389" y="23"/>
                      </a:lnTo>
                      <a:lnTo>
                        <a:pt x="372" y="18"/>
                      </a:lnTo>
                      <a:lnTo>
                        <a:pt x="343" y="18"/>
                      </a:lnTo>
                      <a:lnTo>
                        <a:pt x="337" y="18"/>
                      </a:lnTo>
                      <a:lnTo>
                        <a:pt x="331" y="18"/>
                      </a:lnTo>
                      <a:lnTo>
                        <a:pt x="325" y="18"/>
                      </a:lnTo>
                      <a:lnTo>
                        <a:pt x="320" y="18"/>
                      </a:lnTo>
                      <a:lnTo>
                        <a:pt x="285" y="18"/>
                      </a:lnTo>
                      <a:lnTo>
                        <a:pt x="279" y="18"/>
                      </a:lnTo>
                      <a:lnTo>
                        <a:pt x="273" y="18"/>
                      </a:lnTo>
                      <a:lnTo>
                        <a:pt x="267" y="18"/>
                      </a:lnTo>
                      <a:lnTo>
                        <a:pt x="227" y="12"/>
                      </a:lnTo>
                      <a:lnTo>
                        <a:pt x="221" y="12"/>
                      </a:lnTo>
                      <a:lnTo>
                        <a:pt x="192" y="12"/>
                      </a:lnTo>
                      <a:lnTo>
                        <a:pt x="186" y="12"/>
                      </a:lnTo>
                      <a:lnTo>
                        <a:pt x="180" y="12"/>
                      </a:lnTo>
                      <a:lnTo>
                        <a:pt x="175" y="12"/>
                      </a:lnTo>
                      <a:lnTo>
                        <a:pt x="157" y="12"/>
                      </a:lnTo>
                      <a:lnTo>
                        <a:pt x="140" y="12"/>
                      </a:lnTo>
                      <a:lnTo>
                        <a:pt x="122" y="6"/>
                      </a:lnTo>
                      <a:lnTo>
                        <a:pt x="117" y="6"/>
                      </a:lnTo>
                      <a:lnTo>
                        <a:pt x="93" y="6"/>
                      </a:lnTo>
                      <a:lnTo>
                        <a:pt x="41" y="0"/>
                      </a:lnTo>
                      <a:lnTo>
                        <a:pt x="29" y="0"/>
                      </a:lnTo>
                      <a:lnTo>
                        <a:pt x="6" y="0"/>
                      </a:lnTo>
                      <a:lnTo>
                        <a:pt x="6" y="12"/>
                      </a:lnTo>
                      <a:lnTo>
                        <a:pt x="6" y="29"/>
                      </a:lnTo>
                      <a:lnTo>
                        <a:pt x="0" y="58"/>
                      </a:lnTo>
                      <a:lnTo>
                        <a:pt x="35" y="58"/>
                      </a:lnTo>
                      <a:lnTo>
                        <a:pt x="58" y="58"/>
                      </a:lnTo>
                      <a:lnTo>
                        <a:pt x="76" y="64"/>
                      </a:lnTo>
                      <a:lnTo>
                        <a:pt x="82" y="64"/>
                      </a:lnTo>
                      <a:lnTo>
                        <a:pt x="93" y="64"/>
                      </a:lnTo>
                      <a:lnTo>
                        <a:pt x="105" y="64"/>
                      </a:lnTo>
                      <a:lnTo>
                        <a:pt x="128" y="64"/>
                      </a:lnTo>
                      <a:lnTo>
                        <a:pt x="151" y="64"/>
                      </a:lnTo>
                      <a:lnTo>
                        <a:pt x="163" y="70"/>
                      </a:lnTo>
                      <a:lnTo>
                        <a:pt x="180" y="70"/>
                      </a:lnTo>
                      <a:lnTo>
                        <a:pt x="186" y="70"/>
                      </a:lnTo>
                      <a:lnTo>
                        <a:pt x="192" y="70"/>
                      </a:lnTo>
                      <a:lnTo>
                        <a:pt x="198" y="70"/>
                      </a:lnTo>
                      <a:lnTo>
                        <a:pt x="221" y="70"/>
                      </a:lnTo>
                      <a:lnTo>
                        <a:pt x="227" y="70"/>
                      </a:lnTo>
                      <a:lnTo>
                        <a:pt x="244" y="70"/>
                      </a:lnTo>
                      <a:lnTo>
                        <a:pt x="279" y="76"/>
                      </a:lnTo>
                      <a:lnTo>
                        <a:pt x="279" y="87"/>
                      </a:lnTo>
                      <a:lnTo>
                        <a:pt x="273" y="122"/>
                      </a:lnTo>
                      <a:lnTo>
                        <a:pt x="273" y="128"/>
                      </a:lnTo>
                      <a:lnTo>
                        <a:pt x="273" y="139"/>
                      </a:lnTo>
                      <a:lnTo>
                        <a:pt x="273" y="145"/>
                      </a:lnTo>
                      <a:lnTo>
                        <a:pt x="273" y="151"/>
                      </a:lnTo>
                      <a:lnTo>
                        <a:pt x="273" y="157"/>
                      </a:lnTo>
                      <a:lnTo>
                        <a:pt x="273" y="174"/>
                      </a:lnTo>
                      <a:lnTo>
                        <a:pt x="273" y="186"/>
                      </a:lnTo>
                      <a:lnTo>
                        <a:pt x="273" y="192"/>
                      </a:lnTo>
                      <a:lnTo>
                        <a:pt x="273" y="197"/>
                      </a:lnTo>
                      <a:lnTo>
                        <a:pt x="273" y="209"/>
                      </a:lnTo>
                      <a:lnTo>
                        <a:pt x="273" y="215"/>
                      </a:lnTo>
                      <a:lnTo>
                        <a:pt x="273" y="221"/>
                      </a:lnTo>
                      <a:lnTo>
                        <a:pt x="273" y="232"/>
                      </a:lnTo>
                      <a:lnTo>
                        <a:pt x="267" y="238"/>
                      </a:lnTo>
                      <a:lnTo>
                        <a:pt x="267" y="261"/>
                      </a:lnTo>
                      <a:lnTo>
                        <a:pt x="267" y="267"/>
                      </a:lnTo>
                      <a:lnTo>
                        <a:pt x="267" y="273"/>
                      </a:lnTo>
                      <a:lnTo>
                        <a:pt x="267" y="296"/>
                      </a:lnTo>
                      <a:lnTo>
                        <a:pt x="273" y="296"/>
                      </a:lnTo>
                      <a:lnTo>
                        <a:pt x="279" y="302"/>
                      </a:lnTo>
                      <a:lnTo>
                        <a:pt x="291" y="313"/>
                      </a:lnTo>
                      <a:lnTo>
                        <a:pt x="314" y="313"/>
                      </a:lnTo>
                      <a:lnTo>
                        <a:pt x="337" y="319"/>
                      </a:lnTo>
                      <a:lnTo>
                        <a:pt x="343" y="325"/>
                      </a:lnTo>
                      <a:lnTo>
                        <a:pt x="343" y="337"/>
                      </a:lnTo>
                      <a:lnTo>
                        <a:pt x="349" y="342"/>
                      </a:lnTo>
                      <a:lnTo>
                        <a:pt x="354" y="337"/>
                      </a:lnTo>
                      <a:lnTo>
                        <a:pt x="366" y="342"/>
                      </a:lnTo>
                      <a:lnTo>
                        <a:pt x="383" y="348"/>
                      </a:lnTo>
                      <a:lnTo>
                        <a:pt x="395" y="348"/>
                      </a:lnTo>
                      <a:lnTo>
                        <a:pt x="401" y="348"/>
                      </a:lnTo>
                      <a:lnTo>
                        <a:pt x="407" y="354"/>
                      </a:lnTo>
                      <a:lnTo>
                        <a:pt x="413" y="354"/>
                      </a:lnTo>
                      <a:lnTo>
                        <a:pt x="430" y="348"/>
                      </a:lnTo>
                      <a:lnTo>
                        <a:pt x="442" y="354"/>
                      </a:lnTo>
                      <a:lnTo>
                        <a:pt x="442" y="348"/>
                      </a:lnTo>
                      <a:lnTo>
                        <a:pt x="447" y="348"/>
                      </a:lnTo>
                      <a:lnTo>
                        <a:pt x="447" y="366"/>
                      </a:lnTo>
                      <a:lnTo>
                        <a:pt x="459" y="366"/>
                      </a:lnTo>
                      <a:lnTo>
                        <a:pt x="459" y="377"/>
                      </a:lnTo>
                      <a:lnTo>
                        <a:pt x="465" y="383"/>
                      </a:lnTo>
                      <a:lnTo>
                        <a:pt x="488" y="371"/>
                      </a:lnTo>
                      <a:lnTo>
                        <a:pt x="500" y="377"/>
                      </a:lnTo>
                      <a:lnTo>
                        <a:pt x="505" y="377"/>
                      </a:lnTo>
                      <a:lnTo>
                        <a:pt x="517" y="389"/>
                      </a:lnTo>
                      <a:lnTo>
                        <a:pt x="534" y="383"/>
                      </a:lnTo>
                      <a:lnTo>
                        <a:pt x="534" y="395"/>
                      </a:lnTo>
                      <a:lnTo>
                        <a:pt x="540" y="400"/>
                      </a:lnTo>
                      <a:lnTo>
                        <a:pt x="558" y="371"/>
                      </a:lnTo>
                      <a:lnTo>
                        <a:pt x="575" y="389"/>
                      </a:lnTo>
                      <a:lnTo>
                        <a:pt x="587" y="377"/>
                      </a:lnTo>
                      <a:lnTo>
                        <a:pt x="592" y="377"/>
                      </a:lnTo>
                      <a:lnTo>
                        <a:pt x="587" y="383"/>
                      </a:lnTo>
                      <a:lnTo>
                        <a:pt x="598" y="395"/>
                      </a:lnTo>
                      <a:lnTo>
                        <a:pt x="604" y="395"/>
                      </a:lnTo>
                      <a:lnTo>
                        <a:pt x="610" y="400"/>
                      </a:lnTo>
                      <a:lnTo>
                        <a:pt x="621" y="395"/>
                      </a:lnTo>
                      <a:lnTo>
                        <a:pt x="645" y="383"/>
                      </a:lnTo>
                      <a:lnTo>
                        <a:pt x="662" y="383"/>
                      </a:lnTo>
                      <a:lnTo>
                        <a:pt x="668" y="383"/>
                      </a:lnTo>
                      <a:lnTo>
                        <a:pt x="668" y="377"/>
                      </a:lnTo>
                      <a:lnTo>
                        <a:pt x="685" y="377"/>
                      </a:lnTo>
                      <a:lnTo>
                        <a:pt x="685" y="371"/>
                      </a:lnTo>
                      <a:lnTo>
                        <a:pt x="685" y="377"/>
                      </a:lnTo>
                      <a:lnTo>
                        <a:pt x="691" y="377"/>
                      </a:lnTo>
                      <a:lnTo>
                        <a:pt x="691" y="383"/>
                      </a:lnTo>
                      <a:lnTo>
                        <a:pt x="714" y="383"/>
                      </a:lnTo>
                      <a:lnTo>
                        <a:pt x="720" y="377"/>
                      </a:lnTo>
                      <a:lnTo>
                        <a:pt x="726" y="371"/>
                      </a:lnTo>
                      <a:lnTo>
                        <a:pt x="732" y="371"/>
                      </a:lnTo>
                      <a:lnTo>
                        <a:pt x="732" y="377"/>
                      </a:lnTo>
                      <a:lnTo>
                        <a:pt x="743" y="383"/>
                      </a:lnTo>
                      <a:lnTo>
                        <a:pt x="755" y="395"/>
                      </a:lnTo>
                      <a:lnTo>
                        <a:pt x="761" y="395"/>
                      </a:lnTo>
                      <a:lnTo>
                        <a:pt x="767" y="395"/>
                      </a:lnTo>
                      <a:lnTo>
                        <a:pt x="767" y="400"/>
                      </a:lnTo>
                      <a:lnTo>
                        <a:pt x="778" y="400"/>
                      </a:lnTo>
                      <a:lnTo>
                        <a:pt x="790" y="412"/>
                      </a:lnTo>
                      <a:lnTo>
                        <a:pt x="790" y="406"/>
                      </a:lnTo>
                      <a:lnTo>
                        <a:pt x="790" y="377"/>
                      </a:lnTo>
                      <a:lnTo>
                        <a:pt x="790" y="371"/>
                      </a:lnTo>
                      <a:lnTo>
                        <a:pt x="790" y="354"/>
                      </a:lnTo>
                      <a:lnTo>
                        <a:pt x="790" y="342"/>
                      </a:lnTo>
                      <a:lnTo>
                        <a:pt x="790" y="337"/>
                      </a:lnTo>
                      <a:lnTo>
                        <a:pt x="790" y="313"/>
                      </a:lnTo>
                      <a:lnTo>
                        <a:pt x="790" y="308"/>
                      </a:lnTo>
                      <a:lnTo>
                        <a:pt x="790" y="290"/>
                      </a:lnTo>
                      <a:lnTo>
                        <a:pt x="790" y="284"/>
                      </a:lnTo>
                      <a:lnTo>
                        <a:pt x="790" y="267"/>
                      </a:lnTo>
                      <a:lnTo>
                        <a:pt x="790" y="261"/>
                      </a:lnTo>
                      <a:lnTo>
                        <a:pt x="790" y="221"/>
                      </a:lnTo>
                      <a:lnTo>
                        <a:pt x="790" y="209"/>
                      </a:lnTo>
                      <a:lnTo>
                        <a:pt x="790" y="203"/>
                      </a:lnTo>
                      <a:lnTo>
                        <a:pt x="790" y="197"/>
                      </a:lnTo>
                      <a:lnTo>
                        <a:pt x="790" y="192"/>
                      </a:lnTo>
                      <a:lnTo>
                        <a:pt x="790" y="180"/>
                      </a:lnTo>
                      <a:lnTo>
                        <a:pt x="790" y="174"/>
                      </a:lnTo>
                      <a:lnTo>
                        <a:pt x="790" y="168"/>
                      </a:lnTo>
                      <a:lnTo>
                        <a:pt x="784" y="163"/>
                      </a:lnTo>
                      <a:lnTo>
                        <a:pt x="784" y="151"/>
                      </a:lnTo>
                      <a:lnTo>
                        <a:pt x="778" y="128"/>
                      </a:lnTo>
                      <a:lnTo>
                        <a:pt x="778" y="122"/>
                      </a:lnTo>
                      <a:close/>
                    </a:path>
                  </a:pathLst>
                </a:custGeom>
                <a:solidFill>
                  <a:srgbClr val="ED7D31">
                    <a:lumMod val="60000"/>
                    <a:lumOff val="4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56" name="Freeform 55"/>
                <p:cNvSpPr>
                  <a:spLocks/>
                </p:cNvSpPr>
                <p:nvPr/>
              </p:nvSpPr>
              <p:spPr bwMode="auto">
                <a:xfrm>
                  <a:off x="494315" y="2560365"/>
                  <a:ext cx="995362" cy="1141109"/>
                </a:xfrm>
                <a:custGeom>
                  <a:avLst/>
                  <a:gdLst>
                    <a:gd name="T0" fmla="*/ 17 w 627"/>
                    <a:gd name="T1" fmla="*/ 464 h 719"/>
                    <a:gd name="T2" fmla="*/ 41 w 627"/>
                    <a:gd name="T3" fmla="*/ 435 h 719"/>
                    <a:gd name="T4" fmla="*/ 23 w 627"/>
                    <a:gd name="T5" fmla="*/ 424 h 719"/>
                    <a:gd name="T6" fmla="*/ 41 w 627"/>
                    <a:gd name="T7" fmla="*/ 389 h 719"/>
                    <a:gd name="T8" fmla="*/ 64 w 627"/>
                    <a:gd name="T9" fmla="*/ 331 h 719"/>
                    <a:gd name="T10" fmla="*/ 76 w 627"/>
                    <a:gd name="T11" fmla="*/ 319 h 719"/>
                    <a:gd name="T12" fmla="*/ 105 w 627"/>
                    <a:gd name="T13" fmla="*/ 302 h 719"/>
                    <a:gd name="T14" fmla="*/ 87 w 627"/>
                    <a:gd name="T15" fmla="*/ 279 h 719"/>
                    <a:gd name="T16" fmla="*/ 81 w 627"/>
                    <a:gd name="T17" fmla="*/ 244 h 719"/>
                    <a:gd name="T18" fmla="*/ 81 w 627"/>
                    <a:gd name="T19" fmla="*/ 209 h 719"/>
                    <a:gd name="T20" fmla="*/ 93 w 627"/>
                    <a:gd name="T21" fmla="*/ 128 h 719"/>
                    <a:gd name="T22" fmla="*/ 93 w 627"/>
                    <a:gd name="T23" fmla="*/ 87 h 719"/>
                    <a:gd name="T24" fmla="*/ 139 w 627"/>
                    <a:gd name="T25" fmla="*/ 105 h 719"/>
                    <a:gd name="T26" fmla="*/ 174 w 627"/>
                    <a:gd name="T27" fmla="*/ 18 h 719"/>
                    <a:gd name="T28" fmla="*/ 209 w 627"/>
                    <a:gd name="T29" fmla="*/ 6 h 719"/>
                    <a:gd name="T30" fmla="*/ 284 w 627"/>
                    <a:gd name="T31" fmla="*/ 23 h 719"/>
                    <a:gd name="T32" fmla="*/ 313 w 627"/>
                    <a:gd name="T33" fmla="*/ 29 h 719"/>
                    <a:gd name="T34" fmla="*/ 406 w 627"/>
                    <a:gd name="T35" fmla="*/ 47 h 719"/>
                    <a:gd name="T36" fmla="*/ 430 w 627"/>
                    <a:gd name="T37" fmla="*/ 47 h 719"/>
                    <a:gd name="T38" fmla="*/ 476 w 627"/>
                    <a:gd name="T39" fmla="*/ 58 h 719"/>
                    <a:gd name="T40" fmla="*/ 546 w 627"/>
                    <a:gd name="T41" fmla="*/ 70 h 719"/>
                    <a:gd name="T42" fmla="*/ 586 w 627"/>
                    <a:gd name="T43" fmla="*/ 76 h 719"/>
                    <a:gd name="T44" fmla="*/ 627 w 627"/>
                    <a:gd name="T45" fmla="*/ 110 h 719"/>
                    <a:gd name="T46" fmla="*/ 609 w 627"/>
                    <a:gd name="T47" fmla="*/ 192 h 719"/>
                    <a:gd name="T48" fmla="*/ 604 w 627"/>
                    <a:gd name="T49" fmla="*/ 250 h 719"/>
                    <a:gd name="T50" fmla="*/ 592 w 627"/>
                    <a:gd name="T51" fmla="*/ 331 h 719"/>
                    <a:gd name="T52" fmla="*/ 586 w 627"/>
                    <a:gd name="T53" fmla="*/ 377 h 719"/>
                    <a:gd name="T54" fmla="*/ 575 w 627"/>
                    <a:gd name="T55" fmla="*/ 447 h 719"/>
                    <a:gd name="T56" fmla="*/ 563 w 627"/>
                    <a:gd name="T57" fmla="*/ 516 h 719"/>
                    <a:gd name="T58" fmla="*/ 557 w 627"/>
                    <a:gd name="T59" fmla="*/ 557 h 719"/>
                    <a:gd name="T60" fmla="*/ 551 w 627"/>
                    <a:gd name="T61" fmla="*/ 592 h 719"/>
                    <a:gd name="T62" fmla="*/ 534 w 627"/>
                    <a:gd name="T63" fmla="*/ 696 h 719"/>
                    <a:gd name="T64" fmla="*/ 534 w 627"/>
                    <a:gd name="T65" fmla="*/ 719 h 719"/>
                    <a:gd name="T66" fmla="*/ 337 w 627"/>
                    <a:gd name="T67" fmla="*/ 690 h 719"/>
                    <a:gd name="T68" fmla="*/ 308 w 627"/>
                    <a:gd name="T69" fmla="*/ 673 h 719"/>
                    <a:gd name="T70" fmla="*/ 134 w 627"/>
                    <a:gd name="T71" fmla="*/ 569 h 719"/>
                    <a:gd name="T72" fmla="*/ 0 w 627"/>
                    <a:gd name="T73" fmla="*/ 482 h 719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627"/>
                    <a:gd name="T112" fmla="*/ 0 h 719"/>
                    <a:gd name="T113" fmla="*/ 627 w 627"/>
                    <a:gd name="T114" fmla="*/ 719 h 719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627" h="719">
                      <a:moveTo>
                        <a:pt x="0" y="482"/>
                      </a:moveTo>
                      <a:lnTo>
                        <a:pt x="17" y="464"/>
                      </a:lnTo>
                      <a:lnTo>
                        <a:pt x="35" y="464"/>
                      </a:lnTo>
                      <a:lnTo>
                        <a:pt x="41" y="435"/>
                      </a:lnTo>
                      <a:lnTo>
                        <a:pt x="35" y="435"/>
                      </a:lnTo>
                      <a:lnTo>
                        <a:pt x="23" y="424"/>
                      </a:lnTo>
                      <a:lnTo>
                        <a:pt x="35" y="389"/>
                      </a:lnTo>
                      <a:lnTo>
                        <a:pt x="41" y="389"/>
                      </a:lnTo>
                      <a:lnTo>
                        <a:pt x="58" y="360"/>
                      </a:lnTo>
                      <a:lnTo>
                        <a:pt x="64" y="331"/>
                      </a:lnTo>
                      <a:lnTo>
                        <a:pt x="70" y="325"/>
                      </a:lnTo>
                      <a:lnTo>
                        <a:pt x="76" y="319"/>
                      </a:lnTo>
                      <a:lnTo>
                        <a:pt x="93" y="313"/>
                      </a:lnTo>
                      <a:lnTo>
                        <a:pt x="105" y="302"/>
                      </a:lnTo>
                      <a:lnTo>
                        <a:pt x="110" y="302"/>
                      </a:lnTo>
                      <a:lnTo>
                        <a:pt x="87" y="279"/>
                      </a:lnTo>
                      <a:lnTo>
                        <a:pt x="87" y="273"/>
                      </a:lnTo>
                      <a:lnTo>
                        <a:pt x="81" y="244"/>
                      </a:lnTo>
                      <a:lnTo>
                        <a:pt x="76" y="226"/>
                      </a:lnTo>
                      <a:lnTo>
                        <a:pt x="81" y="209"/>
                      </a:lnTo>
                      <a:lnTo>
                        <a:pt x="87" y="186"/>
                      </a:lnTo>
                      <a:lnTo>
                        <a:pt x="93" y="128"/>
                      </a:lnTo>
                      <a:lnTo>
                        <a:pt x="99" y="110"/>
                      </a:lnTo>
                      <a:lnTo>
                        <a:pt x="93" y="87"/>
                      </a:lnTo>
                      <a:lnTo>
                        <a:pt x="116" y="87"/>
                      </a:lnTo>
                      <a:lnTo>
                        <a:pt x="139" y="105"/>
                      </a:lnTo>
                      <a:lnTo>
                        <a:pt x="157" y="87"/>
                      </a:lnTo>
                      <a:lnTo>
                        <a:pt x="174" y="18"/>
                      </a:lnTo>
                      <a:lnTo>
                        <a:pt x="180" y="0"/>
                      </a:lnTo>
                      <a:lnTo>
                        <a:pt x="209" y="6"/>
                      </a:lnTo>
                      <a:lnTo>
                        <a:pt x="238" y="12"/>
                      </a:lnTo>
                      <a:lnTo>
                        <a:pt x="284" y="23"/>
                      </a:lnTo>
                      <a:lnTo>
                        <a:pt x="296" y="23"/>
                      </a:lnTo>
                      <a:lnTo>
                        <a:pt x="313" y="29"/>
                      </a:lnTo>
                      <a:lnTo>
                        <a:pt x="383" y="41"/>
                      </a:lnTo>
                      <a:lnTo>
                        <a:pt x="406" y="47"/>
                      </a:lnTo>
                      <a:lnTo>
                        <a:pt x="418" y="47"/>
                      </a:lnTo>
                      <a:lnTo>
                        <a:pt x="430" y="47"/>
                      </a:lnTo>
                      <a:lnTo>
                        <a:pt x="453" y="52"/>
                      </a:lnTo>
                      <a:lnTo>
                        <a:pt x="476" y="58"/>
                      </a:lnTo>
                      <a:lnTo>
                        <a:pt x="499" y="58"/>
                      </a:lnTo>
                      <a:lnTo>
                        <a:pt x="546" y="70"/>
                      </a:lnTo>
                      <a:lnTo>
                        <a:pt x="575" y="76"/>
                      </a:lnTo>
                      <a:lnTo>
                        <a:pt x="586" y="76"/>
                      </a:lnTo>
                      <a:lnTo>
                        <a:pt x="627" y="81"/>
                      </a:lnTo>
                      <a:lnTo>
                        <a:pt x="627" y="110"/>
                      </a:lnTo>
                      <a:lnTo>
                        <a:pt x="621" y="139"/>
                      </a:lnTo>
                      <a:lnTo>
                        <a:pt x="609" y="192"/>
                      </a:lnTo>
                      <a:lnTo>
                        <a:pt x="604" y="244"/>
                      </a:lnTo>
                      <a:lnTo>
                        <a:pt x="604" y="250"/>
                      </a:lnTo>
                      <a:lnTo>
                        <a:pt x="592" y="313"/>
                      </a:lnTo>
                      <a:lnTo>
                        <a:pt x="592" y="331"/>
                      </a:lnTo>
                      <a:lnTo>
                        <a:pt x="586" y="354"/>
                      </a:lnTo>
                      <a:lnTo>
                        <a:pt x="586" y="377"/>
                      </a:lnTo>
                      <a:lnTo>
                        <a:pt x="580" y="418"/>
                      </a:lnTo>
                      <a:lnTo>
                        <a:pt x="575" y="447"/>
                      </a:lnTo>
                      <a:lnTo>
                        <a:pt x="563" y="511"/>
                      </a:lnTo>
                      <a:lnTo>
                        <a:pt x="563" y="516"/>
                      </a:lnTo>
                      <a:lnTo>
                        <a:pt x="563" y="534"/>
                      </a:lnTo>
                      <a:lnTo>
                        <a:pt x="557" y="557"/>
                      </a:lnTo>
                      <a:lnTo>
                        <a:pt x="557" y="563"/>
                      </a:lnTo>
                      <a:lnTo>
                        <a:pt x="551" y="592"/>
                      </a:lnTo>
                      <a:lnTo>
                        <a:pt x="551" y="598"/>
                      </a:lnTo>
                      <a:lnTo>
                        <a:pt x="534" y="696"/>
                      </a:lnTo>
                      <a:lnTo>
                        <a:pt x="534" y="702"/>
                      </a:lnTo>
                      <a:lnTo>
                        <a:pt x="534" y="719"/>
                      </a:lnTo>
                      <a:lnTo>
                        <a:pt x="395" y="702"/>
                      </a:lnTo>
                      <a:lnTo>
                        <a:pt x="337" y="690"/>
                      </a:lnTo>
                      <a:lnTo>
                        <a:pt x="313" y="679"/>
                      </a:lnTo>
                      <a:lnTo>
                        <a:pt x="308" y="673"/>
                      </a:lnTo>
                      <a:lnTo>
                        <a:pt x="296" y="667"/>
                      </a:lnTo>
                      <a:lnTo>
                        <a:pt x="134" y="569"/>
                      </a:lnTo>
                      <a:lnTo>
                        <a:pt x="12" y="499"/>
                      </a:lnTo>
                      <a:lnTo>
                        <a:pt x="0" y="482"/>
                      </a:lnTo>
                      <a:close/>
                    </a:path>
                  </a:pathLst>
                </a:custGeom>
                <a:solidFill>
                  <a:srgbClr val="E7E6E6">
                    <a:lumMod val="9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57" name="Freeform 56"/>
                <p:cNvSpPr>
                  <a:spLocks/>
                </p:cNvSpPr>
                <p:nvPr/>
              </p:nvSpPr>
              <p:spPr bwMode="auto">
                <a:xfrm>
                  <a:off x="-496222" y="1317684"/>
                  <a:ext cx="1150935" cy="1979085"/>
                </a:xfrm>
                <a:custGeom>
                  <a:avLst/>
                  <a:gdLst>
                    <a:gd name="T0" fmla="*/ 650 w 725"/>
                    <a:gd name="T1" fmla="*/ 1247 h 1247"/>
                    <a:gd name="T2" fmla="*/ 638 w 725"/>
                    <a:gd name="T3" fmla="*/ 1207 h 1247"/>
                    <a:gd name="T4" fmla="*/ 673 w 725"/>
                    <a:gd name="T5" fmla="*/ 1143 h 1247"/>
                    <a:gd name="T6" fmla="*/ 691 w 725"/>
                    <a:gd name="T7" fmla="*/ 1102 h 1247"/>
                    <a:gd name="T8" fmla="*/ 725 w 725"/>
                    <a:gd name="T9" fmla="*/ 1085 h 1247"/>
                    <a:gd name="T10" fmla="*/ 696 w 725"/>
                    <a:gd name="T11" fmla="*/ 1027 h 1247"/>
                    <a:gd name="T12" fmla="*/ 673 w 725"/>
                    <a:gd name="T13" fmla="*/ 963 h 1247"/>
                    <a:gd name="T14" fmla="*/ 615 w 725"/>
                    <a:gd name="T15" fmla="*/ 870 h 1247"/>
                    <a:gd name="T16" fmla="*/ 557 w 725"/>
                    <a:gd name="T17" fmla="*/ 789 h 1247"/>
                    <a:gd name="T18" fmla="*/ 487 w 725"/>
                    <a:gd name="T19" fmla="*/ 679 h 1247"/>
                    <a:gd name="T20" fmla="*/ 458 w 725"/>
                    <a:gd name="T21" fmla="*/ 632 h 1247"/>
                    <a:gd name="T22" fmla="*/ 400 w 725"/>
                    <a:gd name="T23" fmla="*/ 540 h 1247"/>
                    <a:gd name="T24" fmla="*/ 377 w 725"/>
                    <a:gd name="T25" fmla="*/ 505 h 1247"/>
                    <a:gd name="T26" fmla="*/ 354 w 725"/>
                    <a:gd name="T27" fmla="*/ 476 h 1247"/>
                    <a:gd name="T28" fmla="*/ 336 w 725"/>
                    <a:gd name="T29" fmla="*/ 441 h 1247"/>
                    <a:gd name="T30" fmla="*/ 331 w 725"/>
                    <a:gd name="T31" fmla="*/ 424 h 1247"/>
                    <a:gd name="T32" fmla="*/ 336 w 725"/>
                    <a:gd name="T33" fmla="*/ 400 h 1247"/>
                    <a:gd name="T34" fmla="*/ 342 w 725"/>
                    <a:gd name="T35" fmla="*/ 377 h 1247"/>
                    <a:gd name="T36" fmla="*/ 360 w 725"/>
                    <a:gd name="T37" fmla="*/ 331 h 1247"/>
                    <a:gd name="T38" fmla="*/ 400 w 725"/>
                    <a:gd name="T39" fmla="*/ 174 h 1247"/>
                    <a:gd name="T40" fmla="*/ 406 w 725"/>
                    <a:gd name="T41" fmla="*/ 99 h 1247"/>
                    <a:gd name="T42" fmla="*/ 331 w 725"/>
                    <a:gd name="T43" fmla="*/ 81 h 1247"/>
                    <a:gd name="T44" fmla="*/ 255 w 725"/>
                    <a:gd name="T45" fmla="*/ 58 h 1247"/>
                    <a:gd name="T46" fmla="*/ 174 w 725"/>
                    <a:gd name="T47" fmla="*/ 29 h 1247"/>
                    <a:gd name="T48" fmla="*/ 151 w 725"/>
                    <a:gd name="T49" fmla="*/ 23 h 1247"/>
                    <a:gd name="T50" fmla="*/ 128 w 725"/>
                    <a:gd name="T51" fmla="*/ 18 h 1247"/>
                    <a:gd name="T52" fmla="*/ 93 w 725"/>
                    <a:gd name="T53" fmla="*/ 6 h 1247"/>
                    <a:gd name="T54" fmla="*/ 69 w 725"/>
                    <a:gd name="T55" fmla="*/ 23 h 1247"/>
                    <a:gd name="T56" fmla="*/ 69 w 725"/>
                    <a:gd name="T57" fmla="*/ 70 h 1247"/>
                    <a:gd name="T58" fmla="*/ 52 w 725"/>
                    <a:gd name="T59" fmla="*/ 105 h 1247"/>
                    <a:gd name="T60" fmla="*/ 11 w 725"/>
                    <a:gd name="T61" fmla="*/ 157 h 1247"/>
                    <a:gd name="T62" fmla="*/ 17 w 725"/>
                    <a:gd name="T63" fmla="*/ 203 h 1247"/>
                    <a:gd name="T64" fmla="*/ 29 w 725"/>
                    <a:gd name="T65" fmla="*/ 267 h 1247"/>
                    <a:gd name="T66" fmla="*/ 17 w 725"/>
                    <a:gd name="T67" fmla="*/ 366 h 1247"/>
                    <a:gd name="T68" fmla="*/ 40 w 725"/>
                    <a:gd name="T69" fmla="*/ 429 h 1247"/>
                    <a:gd name="T70" fmla="*/ 46 w 725"/>
                    <a:gd name="T71" fmla="*/ 441 h 1247"/>
                    <a:gd name="T72" fmla="*/ 46 w 725"/>
                    <a:gd name="T73" fmla="*/ 464 h 1247"/>
                    <a:gd name="T74" fmla="*/ 64 w 725"/>
                    <a:gd name="T75" fmla="*/ 487 h 1247"/>
                    <a:gd name="T76" fmla="*/ 75 w 725"/>
                    <a:gd name="T77" fmla="*/ 505 h 1247"/>
                    <a:gd name="T78" fmla="*/ 64 w 725"/>
                    <a:gd name="T79" fmla="*/ 534 h 1247"/>
                    <a:gd name="T80" fmla="*/ 64 w 725"/>
                    <a:gd name="T81" fmla="*/ 580 h 1247"/>
                    <a:gd name="T82" fmla="*/ 87 w 725"/>
                    <a:gd name="T83" fmla="*/ 603 h 1247"/>
                    <a:gd name="T84" fmla="*/ 93 w 725"/>
                    <a:gd name="T85" fmla="*/ 644 h 1247"/>
                    <a:gd name="T86" fmla="*/ 75 w 725"/>
                    <a:gd name="T87" fmla="*/ 650 h 1247"/>
                    <a:gd name="T88" fmla="*/ 99 w 725"/>
                    <a:gd name="T89" fmla="*/ 725 h 1247"/>
                    <a:gd name="T90" fmla="*/ 110 w 725"/>
                    <a:gd name="T91" fmla="*/ 760 h 1247"/>
                    <a:gd name="T92" fmla="*/ 139 w 725"/>
                    <a:gd name="T93" fmla="*/ 801 h 1247"/>
                    <a:gd name="T94" fmla="*/ 139 w 725"/>
                    <a:gd name="T95" fmla="*/ 835 h 1247"/>
                    <a:gd name="T96" fmla="*/ 145 w 725"/>
                    <a:gd name="T97" fmla="*/ 870 h 1247"/>
                    <a:gd name="T98" fmla="*/ 186 w 725"/>
                    <a:gd name="T99" fmla="*/ 934 h 1247"/>
                    <a:gd name="T100" fmla="*/ 232 w 725"/>
                    <a:gd name="T101" fmla="*/ 957 h 1247"/>
                    <a:gd name="T102" fmla="*/ 273 w 725"/>
                    <a:gd name="T103" fmla="*/ 1004 h 1247"/>
                    <a:gd name="T104" fmla="*/ 313 w 725"/>
                    <a:gd name="T105" fmla="*/ 1033 h 1247"/>
                    <a:gd name="T106" fmla="*/ 336 w 725"/>
                    <a:gd name="T107" fmla="*/ 1056 h 1247"/>
                    <a:gd name="T108" fmla="*/ 377 w 725"/>
                    <a:gd name="T109" fmla="*/ 1108 h 1247"/>
                    <a:gd name="T110" fmla="*/ 389 w 725"/>
                    <a:gd name="T111" fmla="*/ 1189 h 1247"/>
                    <a:gd name="T112" fmla="*/ 493 w 725"/>
                    <a:gd name="T113" fmla="*/ 1230 h 1247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725"/>
                    <a:gd name="T172" fmla="*/ 0 h 1247"/>
                    <a:gd name="T173" fmla="*/ 725 w 725"/>
                    <a:gd name="T174" fmla="*/ 1247 h 1247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725" h="1247">
                      <a:moveTo>
                        <a:pt x="627" y="1247"/>
                      </a:moveTo>
                      <a:lnTo>
                        <a:pt x="632" y="1247"/>
                      </a:lnTo>
                      <a:lnTo>
                        <a:pt x="650" y="1247"/>
                      </a:lnTo>
                      <a:lnTo>
                        <a:pt x="656" y="1218"/>
                      </a:lnTo>
                      <a:lnTo>
                        <a:pt x="650" y="1218"/>
                      </a:lnTo>
                      <a:lnTo>
                        <a:pt x="638" y="1207"/>
                      </a:lnTo>
                      <a:lnTo>
                        <a:pt x="650" y="1172"/>
                      </a:lnTo>
                      <a:lnTo>
                        <a:pt x="656" y="1172"/>
                      </a:lnTo>
                      <a:lnTo>
                        <a:pt x="673" y="1143"/>
                      </a:lnTo>
                      <a:lnTo>
                        <a:pt x="679" y="1114"/>
                      </a:lnTo>
                      <a:lnTo>
                        <a:pt x="685" y="1108"/>
                      </a:lnTo>
                      <a:lnTo>
                        <a:pt x="691" y="1102"/>
                      </a:lnTo>
                      <a:lnTo>
                        <a:pt x="708" y="1096"/>
                      </a:lnTo>
                      <a:lnTo>
                        <a:pt x="720" y="1085"/>
                      </a:lnTo>
                      <a:lnTo>
                        <a:pt x="725" y="1085"/>
                      </a:lnTo>
                      <a:lnTo>
                        <a:pt x="702" y="1062"/>
                      </a:lnTo>
                      <a:lnTo>
                        <a:pt x="702" y="1056"/>
                      </a:lnTo>
                      <a:lnTo>
                        <a:pt x="696" y="1027"/>
                      </a:lnTo>
                      <a:lnTo>
                        <a:pt x="691" y="1009"/>
                      </a:lnTo>
                      <a:lnTo>
                        <a:pt x="696" y="992"/>
                      </a:lnTo>
                      <a:lnTo>
                        <a:pt x="673" y="963"/>
                      </a:lnTo>
                      <a:lnTo>
                        <a:pt x="650" y="928"/>
                      </a:lnTo>
                      <a:lnTo>
                        <a:pt x="621" y="888"/>
                      </a:lnTo>
                      <a:lnTo>
                        <a:pt x="615" y="870"/>
                      </a:lnTo>
                      <a:lnTo>
                        <a:pt x="603" y="859"/>
                      </a:lnTo>
                      <a:lnTo>
                        <a:pt x="580" y="818"/>
                      </a:lnTo>
                      <a:lnTo>
                        <a:pt x="557" y="789"/>
                      </a:lnTo>
                      <a:lnTo>
                        <a:pt x="516" y="719"/>
                      </a:lnTo>
                      <a:lnTo>
                        <a:pt x="487" y="685"/>
                      </a:lnTo>
                      <a:lnTo>
                        <a:pt x="487" y="679"/>
                      </a:lnTo>
                      <a:lnTo>
                        <a:pt x="470" y="656"/>
                      </a:lnTo>
                      <a:lnTo>
                        <a:pt x="464" y="650"/>
                      </a:lnTo>
                      <a:lnTo>
                        <a:pt x="458" y="632"/>
                      </a:lnTo>
                      <a:lnTo>
                        <a:pt x="429" y="592"/>
                      </a:lnTo>
                      <a:lnTo>
                        <a:pt x="406" y="557"/>
                      </a:lnTo>
                      <a:lnTo>
                        <a:pt x="400" y="540"/>
                      </a:lnTo>
                      <a:lnTo>
                        <a:pt x="383" y="516"/>
                      </a:lnTo>
                      <a:lnTo>
                        <a:pt x="377" y="511"/>
                      </a:lnTo>
                      <a:lnTo>
                        <a:pt x="377" y="505"/>
                      </a:lnTo>
                      <a:lnTo>
                        <a:pt x="371" y="499"/>
                      </a:lnTo>
                      <a:lnTo>
                        <a:pt x="360" y="482"/>
                      </a:lnTo>
                      <a:lnTo>
                        <a:pt x="354" y="476"/>
                      </a:lnTo>
                      <a:lnTo>
                        <a:pt x="354" y="470"/>
                      </a:lnTo>
                      <a:lnTo>
                        <a:pt x="336" y="447"/>
                      </a:lnTo>
                      <a:lnTo>
                        <a:pt x="336" y="441"/>
                      </a:lnTo>
                      <a:lnTo>
                        <a:pt x="331" y="441"/>
                      </a:lnTo>
                      <a:lnTo>
                        <a:pt x="325" y="435"/>
                      </a:lnTo>
                      <a:lnTo>
                        <a:pt x="331" y="424"/>
                      </a:lnTo>
                      <a:lnTo>
                        <a:pt x="331" y="418"/>
                      </a:lnTo>
                      <a:lnTo>
                        <a:pt x="336" y="406"/>
                      </a:lnTo>
                      <a:lnTo>
                        <a:pt x="336" y="400"/>
                      </a:lnTo>
                      <a:lnTo>
                        <a:pt x="336" y="395"/>
                      </a:lnTo>
                      <a:lnTo>
                        <a:pt x="342" y="383"/>
                      </a:lnTo>
                      <a:lnTo>
                        <a:pt x="342" y="377"/>
                      </a:lnTo>
                      <a:lnTo>
                        <a:pt x="348" y="366"/>
                      </a:lnTo>
                      <a:lnTo>
                        <a:pt x="348" y="354"/>
                      </a:lnTo>
                      <a:lnTo>
                        <a:pt x="360" y="331"/>
                      </a:lnTo>
                      <a:lnTo>
                        <a:pt x="377" y="267"/>
                      </a:lnTo>
                      <a:lnTo>
                        <a:pt x="395" y="197"/>
                      </a:lnTo>
                      <a:lnTo>
                        <a:pt x="400" y="174"/>
                      </a:lnTo>
                      <a:lnTo>
                        <a:pt x="412" y="128"/>
                      </a:lnTo>
                      <a:lnTo>
                        <a:pt x="418" y="105"/>
                      </a:lnTo>
                      <a:lnTo>
                        <a:pt x="406" y="99"/>
                      </a:lnTo>
                      <a:lnTo>
                        <a:pt x="400" y="99"/>
                      </a:lnTo>
                      <a:lnTo>
                        <a:pt x="348" y="87"/>
                      </a:lnTo>
                      <a:lnTo>
                        <a:pt x="331" y="81"/>
                      </a:lnTo>
                      <a:lnTo>
                        <a:pt x="313" y="76"/>
                      </a:lnTo>
                      <a:lnTo>
                        <a:pt x="302" y="70"/>
                      </a:lnTo>
                      <a:lnTo>
                        <a:pt x="255" y="58"/>
                      </a:lnTo>
                      <a:lnTo>
                        <a:pt x="244" y="52"/>
                      </a:lnTo>
                      <a:lnTo>
                        <a:pt x="232" y="47"/>
                      </a:lnTo>
                      <a:lnTo>
                        <a:pt x="174" y="29"/>
                      </a:lnTo>
                      <a:lnTo>
                        <a:pt x="162" y="29"/>
                      </a:lnTo>
                      <a:lnTo>
                        <a:pt x="157" y="23"/>
                      </a:lnTo>
                      <a:lnTo>
                        <a:pt x="151" y="23"/>
                      </a:lnTo>
                      <a:lnTo>
                        <a:pt x="139" y="18"/>
                      </a:lnTo>
                      <a:lnTo>
                        <a:pt x="133" y="18"/>
                      </a:lnTo>
                      <a:lnTo>
                        <a:pt x="128" y="18"/>
                      </a:lnTo>
                      <a:lnTo>
                        <a:pt x="122" y="18"/>
                      </a:lnTo>
                      <a:lnTo>
                        <a:pt x="110" y="12"/>
                      </a:lnTo>
                      <a:lnTo>
                        <a:pt x="93" y="6"/>
                      </a:lnTo>
                      <a:lnTo>
                        <a:pt x="87" y="0"/>
                      </a:lnTo>
                      <a:lnTo>
                        <a:pt x="81" y="0"/>
                      </a:lnTo>
                      <a:lnTo>
                        <a:pt x="69" y="23"/>
                      </a:lnTo>
                      <a:lnTo>
                        <a:pt x="75" y="35"/>
                      </a:lnTo>
                      <a:lnTo>
                        <a:pt x="69" y="64"/>
                      </a:lnTo>
                      <a:lnTo>
                        <a:pt x="69" y="70"/>
                      </a:lnTo>
                      <a:lnTo>
                        <a:pt x="52" y="93"/>
                      </a:lnTo>
                      <a:lnTo>
                        <a:pt x="46" y="105"/>
                      </a:lnTo>
                      <a:lnTo>
                        <a:pt x="52" y="105"/>
                      </a:lnTo>
                      <a:lnTo>
                        <a:pt x="52" y="110"/>
                      </a:lnTo>
                      <a:lnTo>
                        <a:pt x="40" y="122"/>
                      </a:lnTo>
                      <a:lnTo>
                        <a:pt x="11" y="157"/>
                      </a:lnTo>
                      <a:lnTo>
                        <a:pt x="6" y="168"/>
                      </a:lnTo>
                      <a:lnTo>
                        <a:pt x="0" y="180"/>
                      </a:lnTo>
                      <a:lnTo>
                        <a:pt x="17" y="203"/>
                      </a:lnTo>
                      <a:lnTo>
                        <a:pt x="23" y="221"/>
                      </a:lnTo>
                      <a:lnTo>
                        <a:pt x="29" y="255"/>
                      </a:lnTo>
                      <a:lnTo>
                        <a:pt x="29" y="267"/>
                      </a:lnTo>
                      <a:lnTo>
                        <a:pt x="17" y="296"/>
                      </a:lnTo>
                      <a:lnTo>
                        <a:pt x="11" y="354"/>
                      </a:lnTo>
                      <a:lnTo>
                        <a:pt x="17" y="366"/>
                      </a:lnTo>
                      <a:lnTo>
                        <a:pt x="35" y="400"/>
                      </a:lnTo>
                      <a:lnTo>
                        <a:pt x="40" y="418"/>
                      </a:lnTo>
                      <a:lnTo>
                        <a:pt x="40" y="429"/>
                      </a:lnTo>
                      <a:lnTo>
                        <a:pt x="46" y="435"/>
                      </a:lnTo>
                      <a:lnTo>
                        <a:pt x="52" y="441"/>
                      </a:lnTo>
                      <a:lnTo>
                        <a:pt x="46" y="441"/>
                      </a:lnTo>
                      <a:lnTo>
                        <a:pt x="46" y="453"/>
                      </a:lnTo>
                      <a:lnTo>
                        <a:pt x="40" y="470"/>
                      </a:lnTo>
                      <a:lnTo>
                        <a:pt x="46" y="464"/>
                      </a:lnTo>
                      <a:lnTo>
                        <a:pt x="52" y="464"/>
                      </a:lnTo>
                      <a:lnTo>
                        <a:pt x="58" y="482"/>
                      </a:lnTo>
                      <a:lnTo>
                        <a:pt x="64" y="487"/>
                      </a:lnTo>
                      <a:lnTo>
                        <a:pt x="69" y="499"/>
                      </a:lnTo>
                      <a:lnTo>
                        <a:pt x="75" y="499"/>
                      </a:lnTo>
                      <a:lnTo>
                        <a:pt x="75" y="505"/>
                      </a:lnTo>
                      <a:lnTo>
                        <a:pt x="69" y="505"/>
                      </a:lnTo>
                      <a:lnTo>
                        <a:pt x="69" y="511"/>
                      </a:lnTo>
                      <a:lnTo>
                        <a:pt x="64" y="534"/>
                      </a:lnTo>
                      <a:lnTo>
                        <a:pt x="69" y="551"/>
                      </a:lnTo>
                      <a:lnTo>
                        <a:pt x="64" y="563"/>
                      </a:lnTo>
                      <a:lnTo>
                        <a:pt x="64" y="580"/>
                      </a:lnTo>
                      <a:lnTo>
                        <a:pt x="69" y="580"/>
                      </a:lnTo>
                      <a:lnTo>
                        <a:pt x="75" y="598"/>
                      </a:lnTo>
                      <a:lnTo>
                        <a:pt x="87" y="603"/>
                      </a:lnTo>
                      <a:lnTo>
                        <a:pt x="99" y="609"/>
                      </a:lnTo>
                      <a:lnTo>
                        <a:pt x="104" y="621"/>
                      </a:lnTo>
                      <a:lnTo>
                        <a:pt x="93" y="644"/>
                      </a:lnTo>
                      <a:lnTo>
                        <a:pt x="87" y="650"/>
                      </a:lnTo>
                      <a:lnTo>
                        <a:pt x="87" y="644"/>
                      </a:lnTo>
                      <a:lnTo>
                        <a:pt x="75" y="650"/>
                      </a:lnTo>
                      <a:lnTo>
                        <a:pt x="81" y="685"/>
                      </a:lnTo>
                      <a:lnTo>
                        <a:pt x="87" y="696"/>
                      </a:lnTo>
                      <a:lnTo>
                        <a:pt x="99" y="725"/>
                      </a:lnTo>
                      <a:lnTo>
                        <a:pt x="99" y="737"/>
                      </a:lnTo>
                      <a:lnTo>
                        <a:pt x="110" y="748"/>
                      </a:lnTo>
                      <a:lnTo>
                        <a:pt x="110" y="760"/>
                      </a:lnTo>
                      <a:lnTo>
                        <a:pt x="122" y="772"/>
                      </a:lnTo>
                      <a:lnTo>
                        <a:pt x="128" y="789"/>
                      </a:lnTo>
                      <a:lnTo>
                        <a:pt x="139" y="801"/>
                      </a:lnTo>
                      <a:lnTo>
                        <a:pt x="139" y="806"/>
                      </a:lnTo>
                      <a:lnTo>
                        <a:pt x="133" y="824"/>
                      </a:lnTo>
                      <a:lnTo>
                        <a:pt x="139" y="835"/>
                      </a:lnTo>
                      <a:lnTo>
                        <a:pt x="151" y="841"/>
                      </a:lnTo>
                      <a:lnTo>
                        <a:pt x="145" y="859"/>
                      </a:lnTo>
                      <a:lnTo>
                        <a:pt x="145" y="870"/>
                      </a:lnTo>
                      <a:lnTo>
                        <a:pt x="133" y="905"/>
                      </a:lnTo>
                      <a:lnTo>
                        <a:pt x="151" y="922"/>
                      </a:lnTo>
                      <a:lnTo>
                        <a:pt x="186" y="934"/>
                      </a:lnTo>
                      <a:lnTo>
                        <a:pt x="197" y="940"/>
                      </a:lnTo>
                      <a:lnTo>
                        <a:pt x="220" y="946"/>
                      </a:lnTo>
                      <a:lnTo>
                        <a:pt x="232" y="957"/>
                      </a:lnTo>
                      <a:lnTo>
                        <a:pt x="249" y="975"/>
                      </a:lnTo>
                      <a:lnTo>
                        <a:pt x="255" y="992"/>
                      </a:lnTo>
                      <a:lnTo>
                        <a:pt x="273" y="1004"/>
                      </a:lnTo>
                      <a:lnTo>
                        <a:pt x="302" y="1015"/>
                      </a:lnTo>
                      <a:lnTo>
                        <a:pt x="313" y="1021"/>
                      </a:lnTo>
                      <a:lnTo>
                        <a:pt x="313" y="1033"/>
                      </a:lnTo>
                      <a:lnTo>
                        <a:pt x="313" y="1050"/>
                      </a:lnTo>
                      <a:lnTo>
                        <a:pt x="325" y="1056"/>
                      </a:lnTo>
                      <a:lnTo>
                        <a:pt x="336" y="1056"/>
                      </a:lnTo>
                      <a:lnTo>
                        <a:pt x="348" y="1073"/>
                      </a:lnTo>
                      <a:lnTo>
                        <a:pt x="354" y="1079"/>
                      </a:lnTo>
                      <a:lnTo>
                        <a:pt x="377" y="1108"/>
                      </a:lnTo>
                      <a:lnTo>
                        <a:pt x="383" y="1120"/>
                      </a:lnTo>
                      <a:lnTo>
                        <a:pt x="395" y="1143"/>
                      </a:lnTo>
                      <a:lnTo>
                        <a:pt x="389" y="1189"/>
                      </a:lnTo>
                      <a:lnTo>
                        <a:pt x="400" y="1207"/>
                      </a:lnTo>
                      <a:lnTo>
                        <a:pt x="395" y="1218"/>
                      </a:lnTo>
                      <a:lnTo>
                        <a:pt x="493" y="1230"/>
                      </a:lnTo>
                      <a:lnTo>
                        <a:pt x="627" y="1247"/>
                      </a:lnTo>
                      <a:close/>
                    </a:path>
                  </a:pathLst>
                </a:custGeom>
                <a:solidFill>
                  <a:srgbClr val="E7E6E6">
                    <a:lumMod val="9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58" name="Freeform 57"/>
                <p:cNvSpPr>
                  <a:spLocks/>
                </p:cNvSpPr>
                <p:nvPr/>
              </p:nvSpPr>
              <p:spPr bwMode="auto">
                <a:xfrm>
                  <a:off x="285750" y="2698028"/>
                  <a:ext cx="55563" cy="26980"/>
                </a:xfrm>
                <a:custGeom>
                  <a:avLst/>
                  <a:gdLst>
                    <a:gd name="T0" fmla="*/ 0 w 35"/>
                    <a:gd name="T1" fmla="*/ 0 h 17"/>
                    <a:gd name="T2" fmla="*/ 29 w 35"/>
                    <a:gd name="T3" fmla="*/ 17 h 17"/>
                    <a:gd name="T4" fmla="*/ 35 w 35"/>
                    <a:gd name="T5" fmla="*/ 11 h 17"/>
                    <a:gd name="T6" fmla="*/ 35 w 35"/>
                    <a:gd name="T7" fmla="*/ 17 h 17"/>
                    <a:gd name="T8" fmla="*/ 29 w 35"/>
                    <a:gd name="T9" fmla="*/ 17 h 17"/>
                    <a:gd name="T10" fmla="*/ 6 w 35"/>
                    <a:gd name="T11" fmla="*/ 17 h 17"/>
                    <a:gd name="T12" fmla="*/ 0 w 35"/>
                    <a:gd name="T13" fmla="*/ 0 h 1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5"/>
                    <a:gd name="T22" fmla="*/ 0 h 17"/>
                    <a:gd name="T23" fmla="*/ 35 w 35"/>
                    <a:gd name="T24" fmla="*/ 17 h 1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5" h="17">
                      <a:moveTo>
                        <a:pt x="0" y="0"/>
                      </a:moveTo>
                      <a:lnTo>
                        <a:pt x="29" y="17"/>
                      </a:lnTo>
                      <a:lnTo>
                        <a:pt x="35" y="11"/>
                      </a:lnTo>
                      <a:lnTo>
                        <a:pt x="35" y="17"/>
                      </a:lnTo>
                      <a:lnTo>
                        <a:pt x="29" y="17"/>
                      </a:lnTo>
                      <a:lnTo>
                        <a:pt x="6" y="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59" name="Freeform 58"/>
                <p:cNvSpPr>
                  <a:spLocks/>
                </p:cNvSpPr>
                <p:nvPr/>
              </p:nvSpPr>
              <p:spPr bwMode="auto">
                <a:xfrm>
                  <a:off x="239713" y="2698028"/>
                  <a:ext cx="36513" cy="26980"/>
                </a:xfrm>
                <a:custGeom>
                  <a:avLst/>
                  <a:gdLst>
                    <a:gd name="T0" fmla="*/ 0 w 23"/>
                    <a:gd name="T1" fmla="*/ 5 h 17"/>
                    <a:gd name="T2" fmla="*/ 6 w 23"/>
                    <a:gd name="T3" fmla="*/ 11 h 17"/>
                    <a:gd name="T4" fmla="*/ 23 w 23"/>
                    <a:gd name="T5" fmla="*/ 17 h 17"/>
                    <a:gd name="T6" fmla="*/ 17 w 23"/>
                    <a:gd name="T7" fmla="*/ 5 h 17"/>
                    <a:gd name="T8" fmla="*/ 17 w 23"/>
                    <a:gd name="T9" fmla="*/ 0 h 17"/>
                    <a:gd name="T10" fmla="*/ 0 w 23"/>
                    <a:gd name="T11" fmla="*/ 5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3"/>
                    <a:gd name="T19" fmla="*/ 0 h 17"/>
                    <a:gd name="T20" fmla="*/ 23 w 23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3" h="17">
                      <a:moveTo>
                        <a:pt x="0" y="5"/>
                      </a:moveTo>
                      <a:lnTo>
                        <a:pt x="6" y="11"/>
                      </a:lnTo>
                      <a:lnTo>
                        <a:pt x="23" y="17"/>
                      </a:lnTo>
                      <a:lnTo>
                        <a:pt x="17" y="5"/>
                      </a:lnTo>
                      <a:lnTo>
                        <a:pt x="17" y="0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60" name="Freeform 59"/>
                <p:cNvSpPr>
                  <a:spLocks/>
                </p:cNvSpPr>
                <p:nvPr/>
              </p:nvSpPr>
              <p:spPr bwMode="auto">
                <a:xfrm>
                  <a:off x="460375" y="2863084"/>
                  <a:ext cx="26988" cy="26980"/>
                </a:xfrm>
                <a:custGeom>
                  <a:avLst/>
                  <a:gdLst>
                    <a:gd name="T0" fmla="*/ 0 w 17"/>
                    <a:gd name="T1" fmla="*/ 0 h 17"/>
                    <a:gd name="T2" fmla="*/ 6 w 17"/>
                    <a:gd name="T3" fmla="*/ 6 h 17"/>
                    <a:gd name="T4" fmla="*/ 6 w 17"/>
                    <a:gd name="T5" fmla="*/ 17 h 17"/>
                    <a:gd name="T6" fmla="*/ 17 w 17"/>
                    <a:gd name="T7" fmla="*/ 17 h 17"/>
                    <a:gd name="T8" fmla="*/ 17 w 17"/>
                    <a:gd name="T9" fmla="*/ 12 h 17"/>
                    <a:gd name="T10" fmla="*/ 0 w 17"/>
                    <a:gd name="T11" fmla="*/ 0 h 1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7"/>
                    <a:gd name="T19" fmla="*/ 0 h 17"/>
                    <a:gd name="T20" fmla="*/ 17 w 17"/>
                    <a:gd name="T21" fmla="*/ 17 h 1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7" h="17">
                      <a:moveTo>
                        <a:pt x="0" y="0"/>
                      </a:moveTo>
                      <a:lnTo>
                        <a:pt x="6" y="6"/>
                      </a:lnTo>
                      <a:lnTo>
                        <a:pt x="6" y="17"/>
                      </a:lnTo>
                      <a:lnTo>
                        <a:pt x="17" y="17"/>
                      </a:lnTo>
                      <a:lnTo>
                        <a:pt x="17" y="1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61" name="Freeform 60"/>
                <p:cNvSpPr>
                  <a:spLocks/>
                </p:cNvSpPr>
                <p:nvPr/>
              </p:nvSpPr>
              <p:spPr bwMode="auto">
                <a:xfrm>
                  <a:off x="433388" y="2936090"/>
                  <a:ext cx="26988" cy="46025"/>
                </a:xfrm>
                <a:custGeom>
                  <a:avLst/>
                  <a:gdLst>
                    <a:gd name="T0" fmla="*/ 0 w 17"/>
                    <a:gd name="T1" fmla="*/ 0 h 29"/>
                    <a:gd name="T2" fmla="*/ 5 w 17"/>
                    <a:gd name="T3" fmla="*/ 24 h 29"/>
                    <a:gd name="T4" fmla="*/ 17 w 17"/>
                    <a:gd name="T5" fmla="*/ 29 h 29"/>
                    <a:gd name="T6" fmla="*/ 0 w 17"/>
                    <a:gd name="T7" fmla="*/ 0 h 2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29"/>
                    <a:gd name="T14" fmla="*/ 17 w 17"/>
                    <a:gd name="T15" fmla="*/ 29 h 2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29">
                      <a:moveTo>
                        <a:pt x="0" y="0"/>
                      </a:moveTo>
                      <a:lnTo>
                        <a:pt x="5" y="24"/>
                      </a:lnTo>
                      <a:lnTo>
                        <a:pt x="17" y="2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62" name="Freeform 61"/>
                <p:cNvSpPr>
                  <a:spLocks/>
                </p:cNvSpPr>
                <p:nvPr/>
              </p:nvSpPr>
              <p:spPr bwMode="auto">
                <a:xfrm>
                  <a:off x="1698251" y="1799016"/>
                  <a:ext cx="1058864" cy="828454"/>
                </a:xfrm>
                <a:custGeom>
                  <a:avLst/>
                  <a:gdLst>
                    <a:gd name="T0" fmla="*/ 656 w 667"/>
                    <a:gd name="T1" fmla="*/ 238 h 522"/>
                    <a:gd name="T2" fmla="*/ 656 w 667"/>
                    <a:gd name="T3" fmla="*/ 278 h 522"/>
                    <a:gd name="T4" fmla="*/ 656 w 667"/>
                    <a:gd name="T5" fmla="*/ 290 h 522"/>
                    <a:gd name="T6" fmla="*/ 650 w 667"/>
                    <a:gd name="T7" fmla="*/ 319 h 522"/>
                    <a:gd name="T8" fmla="*/ 650 w 667"/>
                    <a:gd name="T9" fmla="*/ 336 h 522"/>
                    <a:gd name="T10" fmla="*/ 650 w 667"/>
                    <a:gd name="T11" fmla="*/ 365 h 522"/>
                    <a:gd name="T12" fmla="*/ 650 w 667"/>
                    <a:gd name="T13" fmla="*/ 394 h 522"/>
                    <a:gd name="T14" fmla="*/ 644 w 667"/>
                    <a:gd name="T15" fmla="*/ 435 h 522"/>
                    <a:gd name="T16" fmla="*/ 644 w 667"/>
                    <a:gd name="T17" fmla="*/ 452 h 522"/>
                    <a:gd name="T18" fmla="*/ 644 w 667"/>
                    <a:gd name="T19" fmla="*/ 476 h 522"/>
                    <a:gd name="T20" fmla="*/ 638 w 667"/>
                    <a:gd name="T21" fmla="*/ 505 h 522"/>
                    <a:gd name="T22" fmla="*/ 586 w 667"/>
                    <a:gd name="T23" fmla="*/ 516 h 522"/>
                    <a:gd name="T24" fmla="*/ 551 w 667"/>
                    <a:gd name="T25" fmla="*/ 516 h 522"/>
                    <a:gd name="T26" fmla="*/ 522 w 667"/>
                    <a:gd name="T27" fmla="*/ 510 h 522"/>
                    <a:gd name="T28" fmla="*/ 458 w 667"/>
                    <a:gd name="T29" fmla="*/ 510 h 522"/>
                    <a:gd name="T30" fmla="*/ 377 w 667"/>
                    <a:gd name="T31" fmla="*/ 499 h 522"/>
                    <a:gd name="T32" fmla="*/ 348 w 667"/>
                    <a:gd name="T33" fmla="*/ 499 h 522"/>
                    <a:gd name="T34" fmla="*/ 290 w 667"/>
                    <a:gd name="T35" fmla="*/ 493 h 522"/>
                    <a:gd name="T36" fmla="*/ 238 w 667"/>
                    <a:gd name="T37" fmla="*/ 481 h 522"/>
                    <a:gd name="T38" fmla="*/ 145 w 667"/>
                    <a:gd name="T39" fmla="*/ 470 h 522"/>
                    <a:gd name="T40" fmla="*/ 64 w 667"/>
                    <a:gd name="T41" fmla="*/ 458 h 522"/>
                    <a:gd name="T42" fmla="*/ 29 w 667"/>
                    <a:gd name="T43" fmla="*/ 458 h 522"/>
                    <a:gd name="T44" fmla="*/ 11 w 667"/>
                    <a:gd name="T45" fmla="*/ 400 h 522"/>
                    <a:gd name="T46" fmla="*/ 17 w 667"/>
                    <a:gd name="T47" fmla="*/ 365 h 522"/>
                    <a:gd name="T48" fmla="*/ 17 w 667"/>
                    <a:gd name="T49" fmla="*/ 336 h 522"/>
                    <a:gd name="T50" fmla="*/ 23 w 667"/>
                    <a:gd name="T51" fmla="*/ 307 h 522"/>
                    <a:gd name="T52" fmla="*/ 29 w 667"/>
                    <a:gd name="T53" fmla="*/ 255 h 522"/>
                    <a:gd name="T54" fmla="*/ 40 w 667"/>
                    <a:gd name="T55" fmla="*/ 186 h 522"/>
                    <a:gd name="T56" fmla="*/ 46 w 667"/>
                    <a:gd name="T57" fmla="*/ 157 h 522"/>
                    <a:gd name="T58" fmla="*/ 52 w 667"/>
                    <a:gd name="T59" fmla="*/ 128 h 522"/>
                    <a:gd name="T60" fmla="*/ 58 w 667"/>
                    <a:gd name="T61" fmla="*/ 87 h 522"/>
                    <a:gd name="T62" fmla="*/ 64 w 667"/>
                    <a:gd name="T63" fmla="*/ 46 h 522"/>
                    <a:gd name="T64" fmla="*/ 64 w 667"/>
                    <a:gd name="T65" fmla="*/ 29 h 522"/>
                    <a:gd name="T66" fmla="*/ 70 w 667"/>
                    <a:gd name="T67" fmla="*/ 0 h 522"/>
                    <a:gd name="T68" fmla="*/ 145 w 667"/>
                    <a:gd name="T69" fmla="*/ 12 h 522"/>
                    <a:gd name="T70" fmla="*/ 191 w 667"/>
                    <a:gd name="T71" fmla="*/ 17 h 522"/>
                    <a:gd name="T72" fmla="*/ 220 w 667"/>
                    <a:gd name="T73" fmla="*/ 23 h 522"/>
                    <a:gd name="T74" fmla="*/ 290 w 667"/>
                    <a:gd name="T75" fmla="*/ 29 h 522"/>
                    <a:gd name="T76" fmla="*/ 302 w 667"/>
                    <a:gd name="T77" fmla="*/ 35 h 522"/>
                    <a:gd name="T78" fmla="*/ 313 w 667"/>
                    <a:gd name="T79" fmla="*/ 35 h 522"/>
                    <a:gd name="T80" fmla="*/ 377 w 667"/>
                    <a:gd name="T81" fmla="*/ 41 h 522"/>
                    <a:gd name="T82" fmla="*/ 395 w 667"/>
                    <a:gd name="T83" fmla="*/ 46 h 522"/>
                    <a:gd name="T84" fmla="*/ 424 w 667"/>
                    <a:gd name="T85" fmla="*/ 46 h 522"/>
                    <a:gd name="T86" fmla="*/ 447 w 667"/>
                    <a:gd name="T87" fmla="*/ 46 h 522"/>
                    <a:gd name="T88" fmla="*/ 534 w 667"/>
                    <a:gd name="T89" fmla="*/ 58 h 522"/>
                    <a:gd name="T90" fmla="*/ 557 w 667"/>
                    <a:gd name="T91" fmla="*/ 58 h 522"/>
                    <a:gd name="T92" fmla="*/ 621 w 667"/>
                    <a:gd name="T93" fmla="*/ 64 h 522"/>
                    <a:gd name="T94" fmla="*/ 667 w 667"/>
                    <a:gd name="T95" fmla="*/ 99 h 522"/>
                    <a:gd name="T96" fmla="*/ 667 w 667"/>
                    <a:gd name="T97" fmla="*/ 110 h 522"/>
                    <a:gd name="T98" fmla="*/ 667 w 667"/>
                    <a:gd name="T99" fmla="*/ 133 h 522"/>
                    <a:gd name="T100" fmla="*/ 662 w 667"/>
                    <a:gd name="T101" fmla="*/ 180 h 522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667"/>
                    <a:gd name="T154" fmla="*/ 0 h 522"/>
                    <a:gd name="T155" fmla="*/ 667 w 667"/>
                    <a:gd name="T156" fmla="*/ 522 h 522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667" h="522">
                      <a:moveTo>
                        <a:pt x="656" y="232"/>
                      </a:moveTo>
                      <a:lnTo>
                        <a:pt x="656" y="238"/>
                      </a:lnTo>
                      <a:lnTo>
                        <a:pt x="656" y="249"/>
                      </a:lnTo>
                      <a:lnTo>
                        <a:pt x="656" y="278"/>
                      </a:lnTo>
                      <a:lnTo>
                        <a:pt x="656" y="284"/>
                      </a:lnTo>
                      <a:lnTo>
                        <a:pt x="656" y="290"/>
                      </a:lnTo>
                      <a:lnTo>
                        <a:pt x="656" y="296"/>
                      </a:lnTo>
                      <a:lnTo>
                        <a:pt x="650" y="319"/>
                      </a:lnTo>
                      <a:lnTo>
                        <a:pt x="650" y="331"/>
                      </a:lnTo>
                      <a:lnTo>
                        <a:pt x="650" y="336"/>
                      </a:lnTo>
                      <a:lnTo>
                        <a:pt x="650" y="360"/>
                      </a:lnTo>
                      <a:lnTo>
                        <a:pt x="650" y="365"/>
                      </a:lnTo>
                      <a:lnTo>
                        <a:pt x="650" y="377"/>
                      </a:lnTo>
                      <a:lnTo>
                        <a:pt x="650" y="394"/>
                      </a:lnTo>
                      <a:lnTo>
                        <a:pt x="644" y="406"/>
                      </a:lnTo>
                      <a:lnTo>
                        <a:pt x="644" y="435"/>
                      </a:lnTo>
                      <a:lnTo>
                        <a:pt x="644" y="447"/>
                      </a:lnTo>
                      <a:lnTo>
                        <a:pt x="644" y="452"/>
                      </a:lnTo>
                      <a:lnTo>
                        <a:pt x="644" y="464"/>
                      </a:lnTo>
                      <a:lnTo>
                        <a:pt x="644" y="476"/>
                      </a:lnTo>
                      <a:lnTo>
                        <a:pt x="638" y="493"/>
                      </a:lnTo>
                      <a:lnTo>
                        <a:pt x="638" y="505"/>
                      </a:lnTo>
                      <a:lnTo>
                        <a:pt x="638" y="522"/>
                      </a:lnTo>
                      <a:lnTo>
                        <a:pt x="586" y="516"/>
                      </a:lnTo>
                      <a:lnTo>
                        <a:pt x="574" y="516"/>
                      </a:lnTo>
                      <a:lnTo>
                        <a:pt x="551" y="516"/>
                      </a:lnTo>
                      <a:lnTo>
                        <a:pt x="545" y="516"/>
                      </a:lnTo>
                      <a:lnTo>
                        <a:pt x="522" y="510"/>
                      </a:lnTo>
                      <a:lnTo>
                        <a:pt x="516" y="510"/>
                      </a:lnTo>
                      <a:lnTo>
                        <a:pt x="458" y="510"/>
                      </a:lnTo>
                      <a:lnTo>
                        <a:pt x="424" y="505"/>
                      </a:lnTo>
                      <a:lnTo>
                        <a:pt x="377" y="499"/>
                      </a:lnTo>
                      <a:lnTo>
                        <a:pt x="354" y="499"/>
                      </a:lnTo>
                      <a:lnTo>
                        <a:pt x="348" y="499"/>
                      </a:lnTo>
                      <a:lnTo>
                        <a:pt x="302" y="493"/>
                      </a:lnTo>
                      <a:lnTo>
                        <a:pt x="290" y="493"/>
                      </a:lnTo>
                      <a:lnTo>
                        <a:pt x="278" y="487"/>
                      </a:lnTo>
                      <a:lnTo>
                        <a:pt x="238" y="481"/>
                      </a:lnTo>
                      <a:lnTo>
                        <a:pt x="151" y="470"/>
                      </a:lnTo>
                      <a:lnTo>
                        <a:pt x="145" y="470"/>
                      </a:lnTo>
                      <a:lnTo>
                        <a:pt x="87" y="464"/>
                      </a:lnTo>
                      <a:lnTo>
                        <a:pt x="64" y="458"/>
                      </a:lnTo>
                      <a:lnTo>
                        <a:pt x="35" y="458"/>
                      </a:lnTo>
                      <a:lnTo>
                        <a:pt x="29" y="458"/>
                      </a:lnTo>
                      <a:lnTo>
                        <a:pt x="0" y="452"/>
                      </a:lnTo>
                      <a:lnTo>
                        <a:pt x="11" y="400"/>
                      </a:lnTo>
                      <a:lnTo>
                        <a:pt x="11" y="394"/>
                      </a:lnTo>
                      <a:lnTo>
                        <a:pt x="17" y="365"/>
                      </a:lnTo>
                      <a:lnTo>
                        <a:pt x="17" y="354"/>
                      </a:lnTo>
                      <a:lnTo>
                        <a:pt x="17" y="336"/>
                      </a:lnTo>
                      <a:lnTo>
                        <a:pt x="23" y="319"/>
                      </a:lnTo>
                      <a:lnTo>
                        <a:pt x="23" y="307"/>
                      </a:lnTo>
                      <a:lnTo>
                        <a:pt x="29" y="284"/>
                      </a:lnTo>
                      <a:lnTo>
                        <a:pt x="29" y="255"/>
                      </a:lnTo>
                      <a:lnTo>
                        <a:pt x="35" y="226"/>
                      </a:lnTo>
                      <a:lnTo>
                        <a:pt x="40" y="186"/>
                      </a:lnTo>
                      <a:lnTo>
                        <a:pt x="46" y="168"/>
                      </a:lnTo>
                      <a:lnTo>
                        <a:pt x="46" y="157"/>
                      </a:lnTo>
                      <a:lnTo>
                        <a:pt x="46" y="151"/>
                      </a:lnTo>
                      <a:lnTo>
                        <a:pt x="52" y="128"/>
                      </a:lnTo>
                      <a:lnTo>
                        <a:pt x="52" y="116"/>
                      </a:lnTo>
                      <a:lnTo>
                        <a:pt x="58" y="87"/>
                      </a:lnTo>
                      <a:lnTo>
                        <a:pt x="58" y="64"/>
                      </a:lnTo>
                      <a:lnTo>
                        <a:pt x="64" y="46"/>
                      </a:lnTo>
                      <a:lnTo>
                        <a:pt x="64" y="41"/>
                      </a:lnTo>
                      <a:lnTo>
                        <a:pt x="64" y="29"/>
                      </a:lnTo>
                      <a:lnTo>
                        <a:pt x="70" y="17"/>
                      </a:lnTo>
                      <a:lnTo>
                        <a:pt x="70" y="0"/>
                      </a:lnTo>
                      <a:lnTo>
                        <a:pt x="93" y="6"/>
                      </a:lnTo>
                      <a:lnTo>
                        <a:pt x="145" y="12"/>
                      </a:lnTo>
                      <a:lnTo>
                        <a:pt x="168" y="17"/>
                      </a:lnTo>
                      <a:lnTo>
                        <a:pt x="191" y="17"/>
                      </a:lnTo>
                      <a:lnTo>
                        <a:pt x="215" y="23"/>
                      </a:lnTo>
                      <a:lnTo>
                        <a:pt x="220" y="23"/>
                      </a:lnTo>
                      <a:lnTo>
                        <a:pt x="255" y="29"/>
                      </a:lnTo>
                      <a:lnTo>
                        <a:pt x="290" y="29"/>
                      </a:lnTo>
                      <a:lnTo>
                        <a:pt x="296" y="35"/>
                      </a:lnTo>
                      <a:lnTo>
                        <a:pt x="302" y="35"/>
                      </a:lnTo>
                      <a:lnTo>
                        <a:pt x="307" y="35"/>
                      </a:lnTo>
                      <a:lnTo>
                        <a:pt x="313" y="35"/>
                      </a:lnTo>
                      <a:lnTo>
                        <a:pt x="325" y="35"/>
                      </a:lnTo>
                      <a:lnTo>
                        <a:pt x="377" y="41"/>
                      </a:lnTo>
                      <a:lnTo>
                        <a:pt x="395" y="41"/>
                      </a:lnTo>
                      <a:lnTo>
                        <a:pt x="395" y="46"/>
                      </a:lnTo>
                      <a:lnTo>
                        <a:pt x="406" y="46"/>
                      </a:lnTo>
                      <a:lnTo>
                        <a:pt x="424" y="46"/>
                      </a:lnTo>
                      <a:lnTo>
                        <a:pt x="429" y="46"/>
                      </a:lnTo>
                      <a:lnTo>
                        <a:pt x="447" y="46"/>
                      </a:lnTo>
                      <a:lnTo>
                        <a:pt x="499" y="52"/>
                      </a:lnTo>
                      <a:lnTo>
                        <a:pt x="534" y="58"/>
                      </a:lnTo>
                      <a:lnTo>
                        <a:pt x="540" y="58"/>
                      </a:lnTo>
                      <a:lnTo>
                        <a:pt x="557" y="58"/>
                      </a:lnTo>
                      <a:lnTo>
                        <a:pt x="615" y="64"/>
                      </a:lnTo>
                      <a:lnTo>
                        <a:pt x="621" y="64"/>
                      </a:lnTo>
                      <a:lnTo>
                        <a:pt x="667" y="70"/>
                      </a:lnTo>
                      <a:lnTo>
                        <a:pt x="667" y="99"/>
                      </a:lnTo>
                      <a:lnTo>
                        <a:pt x="667" y="104"/>
                      </a:lnTo>
                      <a:lnTo>
                        <a:pt x="667" y="110"/>
                      </a:lnTo>
                      <a:lnTo>
                        <a:pt x="667" y="122"/>
                      </a:lnTo>
                      <a:lnTo>
                        <a:pt x="667" y="133"/>
                      </a:lnTo>
                      <a:lnTo>
                        <a:pt x="662" y="139"/>
                      </a:lnTo>
                      <a:lnTo>
                        <a:pt x="662" y="180"/>
                      </a:lnTo>
                      <a:lnTo>
                        <a:pt x="656" y="232"/>
                      </a:lnTo>
                      <a:close/>
                    </a:path>
                  </a:pathLst>
                </a:custGeom>
                <a:solidFill>
                  <a:srgbClr val="5B9BD5">
                    <a:lumMod val="40000"/>
                    <a:lumOff val="6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63" name="Freeform 62"/>
                <p:cNvSpPr>
                  <a:spLocks/>
                </p:cNvSpPr>
                <p:nvPr/>
              </p:nvSpPr>
              <p:spPr bwMode="auto">
                <a:xfrm>
                  <a:off x="785437" y="178613"/>
                  <a:ext cx="857251" cy="1399800"/>
                </a:xfrm>
                <a:custGeom>
                  <a:avLst/>
                  <a:gdLst>
                    <a:gd name="T0" fmla="*/ 53 w 540"/>
                    <a:gd name="T1" fmla="*/ 574 h 882"/>
                    <a:gd name="T2" fmla="*/ 41 w 540"/>
                    <a:gd name="T3" fmla="*/ 592 h 882"/>
                    <a:gd name="T4" fmla="*/ 29 w 540"/>
                    <a:gd name="T5" fmla="*/ 650 h 882"/>
                    <a:gd name="T6" fmla="*/ 76 w 540"/>
                    <a:gd name="T7" fmla="*/ 801 h 882"/>
                    <a:gd name="T8" fmla="*/ 186 w 540"/>
                    <a:gd name="T9" fmla="*/ 824 h 882"/>
                    <a:gd name="T10" fmla="*/ 227 w 540"/>
                    <a:gd name="T11" fmla="*/ 830 h 882"/>
                    <a:gd name="T12" fmla="*/ 267 w 540"/>
                    <a:gd name="T13" fmla="*/ 841 h 882"/>
                    <a:gd name="T14" fmla="*/ 331 w 540"/>
                    <a:gd name="T15" fmla="*/ 853 h 882"/>
                    <a:gd name="T16" fmla="*/ 407 w 540"/>
                    <a:gd name="T17" fmla="*/ 864 h 882"/>
                    <a:gd name="T18" fmla="*/ 436 w 540"/>
                    <a:gd name="T19" fmla="*/ 870 h 882"/>
                    <a:gd name="T20" fmla="*/ 459 w 540"/>
                    <a:gd name="T21" fmla="*/ 876 h 882"/>
                    <a:gd name="T22" fmla="*/ 494 w 540"/>
                    <a:gd name="T23" fmla="*/ 882 h 882"/>
                    <a:gd name="T24" fmla="*/ 505 w 540"/>
                    <a:gd name="T25" fmla="*/ 830 h 882"/>
                    <a:gd name="T26" fmla="*/ 511 w 540"/>
                    <a:gd name="T27" fmla="*/ 801 h 882"/>
                    <a:gd name="T28" fmla="*/ 517 w 540"/>
                    <a:gd name="T29" fmla="*/ 766 h 882"/>
                    <a:gd name="T30" fmla="*/ 523 w 540"/>
                    <a:gd name="T31" fmla="*/ 737 h 882"/>
                    <a:gd name="T32" fmla="*/ 523 w 540"/>
                    <a:gd name="T33" fmla="*/ 714 h 882"/>
                    <a:gd name="T34" fmla="*/ 528 w 540"/>
                    <a:gd name="T35" fmla="*/ 673 h 882"/>
                    <a:gd name="T36" fmla="*/ 534 w 540"/>
                    <a:gd name="T37" fmla="*/ 644 h 882"/>
                    <a:gd name="T38" fmla="*/ 540 w 540"/>
                    <a:gd name="T39" fmla="*/ 603 h 882"/>
                    <a:gd name="T40" fmla="*/ 528 w 540"/>
                    <a:gd name="T41" fmla="*/ 586 h 882"/>
                    <a:gd name="T42" fmla="*/ 511 w 540"/>
                    <a:gd name="T43" fmla="*/ 574 h 882"/>
                    <a:gd name="T44" fmla="*/ 505 w 540"/>
                    <a:gd name="T45" fmla="*/ 592 h 882"/>
                    <a:gd name="T46" fmla="*/ 459 w 540"/>
                    <a:gd name="T47" fmla="*/ 586 h 882"/>
                    <a:gd name="T48" fmla="*/ 436 w 540"/>
                    <a:gd name="T49" fmla="*/ 586 h 882"/>
                    <a:gd name="T50" fmla="*/ 407 w 540"/>
                    <a:gd name="T51" fmla="*/ 580 h 882"/>
                    <a:gd name="T52" fmla="*/ 401 w 540"/>
                    <a:gd name="T53" fmla="*/ 592 h 882"/>
                    <a:gd name="T54" fmla="*/ 383 w 540"/>
                    <a:gd name="T55" fmla="*/ 580 h 882"/>
                    <a:gd name="T56" fmla="*/ 360 w 540"/>
                    <a:gd name="T57" fmla="*/ 522 h 882"/>
                    <a:gd name="T58" fmla="*/ 337 w 540"/>
                    <a:gd name="T59" fmla="*/ 423 h 882"/>
                    <a:gd name="T60" fmla="*/ 302 w 540"/>
                    <a:gd name="T61" fmla="*/ 441 h 882"/>
                    <a:gd name="T62" fmla="*/ 319 w 540"/>
                    <a:gd name="T63" fmla="*/ 325 h 882"/>
                    <a:gd name="T64" fmla="*/ 331 w 540"/>
                    <a:gd name="T65" fmla="*/ 313 h 882"/>
                    <a:gd name="T66" fmla="*/ 319 w 540"/>
                    <a:gd name="T67" fmla="*/ 307 h 882"/>
                    <a:gd name="T68" fmla="*/ 308 w 540"/>
                    <a:gd name="T69" fmla="*/ 302 h 882"/>
                    <a:gd name="T70" fmla="*/ 296 w 540"/>
                    <a:gd name="T71" fmla="*/ 302 h 882"/>
                    <a:gd name="T72" fmla="*/ 302 w 540"/>
                    <a:gd name="T73" fmla="*/ 290 h 882"/>
                    <a:gd name="T74" fmla="*/ 285 w 540"/>
                    <a:gd name="T75" fmla="*/ 261 h 882"/>
                    <a:gd name="T76" fmla="*/ 261 w 540"/>
                    <a:gd name="T77" fmla="*/ 220 h 882"/>
                    <a:gd name="T78" fmla="*/ 250 w 540"/>
                    <a:gd name="T79" fmla="*/ 197 h 882"/>
                    <a:gd name="T80" fmla="*/ 250 w 540"/>
                    <a:gd name="T81" fmla="*/ 168 h 882"/>
                    <a:gd name="T82" fmla="*/ 238 w 540"/>
                    <a:gd name="T83" fmla="*/ 104 h 882"/>
                    <a:gd name="T84" fmla="*/ 250 w 540"/>
                    <a:gd name="T85" fmla="*/ 75 h 882"/>
                    <a:gd name="T86" fmla="*/ 261 w 540"/>
                    <a:gd name="T87" fmla="*/ 23 h 882"/>
                    <a:gd name="T88" fmla="*/ 186 w 540"/>
                    <a:gd name="T89" fmla="*/ 0 h 882"/>
                    <a:gd name="T90" fmla="*/ 186 w 540"/>
                    <a:gd name="T91" fmla="*/ 12 h 882"/>
                    <a:gd name="T92" fmla="*/ 169 w 540"/>
                    <a:gd name="T93" fmla="*/ 81 h 882"/>
                    <a:gd name="T94" fmla="*/ 163 w 540"/>
                    <a:gd name="T95" fmla="*/ 110 h 882"/>
                    <a:gd name="T96" fmla="*/ 157 w 540"/>
                    <a:gd name="T97" fmla="*/ 116 h 882"/>
                    <a:gd name="T98" fmla="*/ 151 w 540"/>
                    <a:gd name="T99" fmla="*/ 157 h 882"/>
                    <a:gd name="T100" fmla="*/ 140 w 540"/>
                    <a:gd name="T101" fmla="*/ 197 h 882"/>
                    <a:gd name="T102" fmla="*/ 128 w 540"/>
                    <a:gd name="T103" fmla="*/ 255 h 882"/>
                    <a:gd name="T104" fmla="*/ 122 w 540"/>
                    <a:gd name="T105" fmla="*/ 278 h 882"/>
                    <a:gd name="T106" fmla="*/ 116 w 540"/>
                    <a:gd name="T107" fmla="*/ 290 h 882"/>
                    <a:gd name="T108" fmla="*/ 116 w 540"/>
                    <a:gd name="T109" fmla="*/ 307 h 882"/>
                    <a:gd name="T110" fmla="*/ 116 w 540"/>
                    <a:gd name="T111" fmla="*/ 342 h 882"/>
                    <a:gd name="T112" fmla="*/ 140 w 540"/>
                    <a:gd name="T113" fmla="*/ 371 h 882"/>
                    <a:gd name="T114" fmla="*/ 111 w 540"/>
                    <a:gd name="T115" fmla="*/ 423 h 882"/>
                    <a:gd name="T116" fmla="*/ 99 w 540"/>
                    <a:gd name="T117" fmla="*/ 441 h 882"/>
                    <a:gd name="T118" fmla="*/ 87 w 540"/>
                    <a:gd name="T119" fmla="*/ 470 h 882"/>
                    <a:gd name="T120" fmla="*/ 47 w 540"/>
                    <a:gd name="T121" fmla="*/ 510 h 882"/>
                    <a:gd name="T122" fmla="*/ 53 w 540"/>
                    <a:gd name="T123" fmla="*/ 528 h 882"/>
                    <a:gd name="T124" fmla="*/ 64 w 540"/>
                    <a:gd name="T125" fmla="*/ 545 h 882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540"/>
                    <a:gd name="T190" fmla="*/ 0 h 882"/>
                    <a:gd name="T191" fmla="*/ 540 w 540"/>
                    <a:gd name="T192" fmla="*/ 882 h 882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540" h="882">
                      <a:moveTo>
                        <a:pt x="64" y="545"/>
                      </a:moveTo>
                      <a:lnTo>
                        <a:pt x="53" y="574"/>
                      </a:lnTo>
                      <a:lnTo>
                        <a:pt x="47" y="580"/>
                      </a:lnTo>
                      <a:lnTo>
                        <a:pt x="41" y="592"/>
                      </a:lnTo>
                      <a:lnTo>
                        <a:pt x="41" y="603"/>
                      </a:lnTo>
                      <a:lnTo>
                        <a:pt x="29" y="650"/>
                      </a:lnTo>
                      <a:lnTo>
                        <a:pt x="0" y="777"/>
                      </a:lnTo>
                      <a:lnTo>
                        <a:pt x="76" y="801"/>
                      </a:lnTo>
                      <a:lnTo>
                        <a:pt x="163" y="818"/>
                      </a:lnTo>
                      <a:lnTo>
                        <a:pt x="186" y="824"/>
                      </a:lnTo>
                      <a:lnTo>
                        <a:pt x="198" y="824"/>
                      </a:lnTo>
                      <a:lnTo>
                        <a:pt x="227" y="830"/>
                      </a:lnTo>
                      <a:lnTo>
                        <a:pt x="244" y="835"/>
                      </a:lnTo>
                      <a:lnTo>
                        <a:pt x="267" y="841"/>
                      </a:lnTo>
                      <a:lnTo>
                        <a:pt x="308" y="847"/>
                      </a:lnTo>
                      <a:lnTo>
                        <a:pt x="331" y="853"/>
                      </a:lnTo>
                      <a:lnTo>
                        <a:pt x="401" y="864"/>
                      </a:lnTo>
                      <a:lnTo>
                        <a:pt x="407" y="864"/>
                      </a:lnTo>
                      <a:lnTo>
                        <a:pt x="412" y="870"/>
                      </a:lnTo>
                      <a:lnTo>
                        <a:pt x="436" y="870"/>
                      </a:lnTo>
                      <a:lnTo>
                        <a:pt x="453" y="876"/>
                      </a:lnTo>
                      <a:lnTo>
                        <a:pt x="459" y="876"/>
                      </a:lnTo>
                      <a:lnTo>
                        <a:pt x="465" y="876"/>
                      </a:lnTo>
                      <a:lnTo>
                        <a:pt x="494" y="882"/>
                      </a:lnTo>
                      <a:lnTo>
                        <a:pt x="499" y="870"/>
                      </a:lnTo>
                      <a:lnTo>
                        <a:pt x="505" y="830"/>
                      </a:lnTo>
                      <a:lnTo>
                        <a:pt x="505" y="824"/>
                      </a:lnTo>
                      <a:lnTo>
                        <a:pt x="511" y="801"/>
                      </a:lnTo>
                      <a:lnTo>
                        <a:pt x="517" y="772"/>
                      </a:lnTo>
                      <a:lnTo>
                        <a:pt x="517" y="766"/>
                      </a:lnTo>
                      <a:lnTo>
                        <a:pt x="517" y="743"/>
                      </a:lnTo>
                      <a:lnTo>
                        <a:pt x="523" y="737"/>
                      </a:lnTo>
                      <a:lnTo>
                        <a:pt x="523" y="719"/>
                      </a:lnTo>
                      <a:lnTo>
                        <a:pt x="523" y="714"/>
                      </a:lnTo>
                      <a:lnTo>
                        <a:pt x="528" y="685"/>
                      </a:lnTo>
                      <a:lnTo>
                        <a:pt x="528" y="673"/>
                      </a:lnTo>
                      <a:lnTo>
                        <a:pt x="534" y="661"/>
                      </a:lnTo>
                      <a:lnTo>
                        <a:pt x="534" y="644"/>
                      </a:lnTo>
                      <a:lnTo>
                        <a:pt x="540" y="632"/>
                      </a:lnTo>
                      <a:lnTo>
                        <a:pt x="540" y="603"/>
                      </a:lnTo>
                      <a:lnTo>
                        <a:pt x="534" y="603"/>
                      </a:lnTo>
                      <a:lnTo>
                        <a:pt x="528" y="586"/>
                      </a:lnTo>
                      <a:lnTo>
                        <a:pt x="523" y="569"/>
                      </a:lnTo>
                      <a:lnTo>
                        <a:pt x="511" y="574"/>
                      </a:lnTo>
                      <a:lnTo>
                        <a:pt x="511" y="580"/>
                      </a:lnTo>
                      <a:lnTo>
                        <a:pt x="505" y="592"/>
                      </a:lnTo>
                      <a:lnTo>
                        <a:pt x="499" y="586"/>
                      </a:lnTo>
                      <a:lnTo>
                        <a:pt x="459" y="586"/>
                      </a:lnTo>
                      <a:lnTo>
                        <a:pt x="447" y="580"/>
                      </a:lnTo>
                      <a:lnTo>
                        <a:pt x="436" y="586"/>
                      </a:lnTo>
                      <a:lnTo>
                        <a:pt x="424" y="586"/>
                      </a:lnTo>
                      <a:lnTo>
                        <a:pt x="407" y="580"/>
                      </a:lnTo>
                      <a:lnTo>
                        <a:pt x="395" y="586"/>
                      </a:lnTo>
                      <a:lnTo>
                        <a:pt x="401" y="592"/>
                      </a:lnTo>
                      <a:lnTo>
                        <a:pt x="395" y="592"/>
                      </a:lnTo>
                      <a:lnTo>
                        <a:pt x="383" y="580"/>
                      </a:lnTo>
                      <a:lnTo>
                        <a:pt x="383" y="540"/>
                      </a:lnTo>
                      <a:lnTo>
                        <a:pt x="360" y="522"/>
                      </a:lnTo>
                      <a:lnTo>
                        <a:pt x="360" y="510"/>
                      </a:lnTo>
                      <a:lnTo>
                        <a:pt x="337" y="423"/>
                      </a:lnTo>
                      <a:lnTo>
                        <a:pt x="308" y="441"/>
                      </a:lnTo>
                      <a:lnTo>
                        <a:pt x="302" y="441"/>
                      </a:lnTo>
                      <a:lnTo>
                        <a:pt x="285" y="429"/>
                      </a:lnTo>
                      <a:lnTo>
                        <a:pt x="319" y="325"/>
                      </a:lnTo>
                      <a:lnTo>
                        <a:pt x="325" y="325"/>
                      </a:lnTo>
                      <a:lnTo>
                        <a:pt x="331" y="313"/>
                      </a:lnTo>
                      <a:lnTo>
                        <a:pt x="331" y="307"/>
                      </a:lnTo>
                      <a:lnTo>
                        <a:pt x="319" y="307"/>
                      </a:lnTo>
                      <a:lnTo>
                        <a:pt x="308" y="307"/>
                      </a:lnTo>
                      <a:lnTo>
                        <a:pt x="308" y="302"/>
                      </a:lnTo>
                      <a:lnTo>
                        <a:pt x="308" y="296"/>
                      </a:lnTo>
                      <a:lnTo>
                        <a:pt x="296" y="302"/>
                      </a:lnTo>
                      <a:lnTo>
                        <a:pt x="296" y="296"/>
                      </a:lnTo>
                      <a:lnTo>
                        <a:pt x="302" y="290"/>
                      </a:lnTo>
                      <a:lnTo>
                        <a:pt x="290" y="267"/>
                      </a:lnTo>
                      <a:lnTo>
                        <a:pt x="285" y="261"/>
                      </a:lnTo>
                      <a:lnTo>
                        <a:pt x="267" y="226"/>
                      </a:lnTo>
                      <a:lnTo>
                        <a:pt x="261" y="220"/>
                      </a:lnTo>
                      <a:lnTo>
                        <a:pt x="244" y="197"/>
                      </a:lnTo>
                      <a:lnTo>
                        <a:pt x="250" y="197"/>
                      </a:lnTo>
                      <a:lnTo>
                        <a:pt x="244" y="186"/>
                      </a:lnTo>
                      <a:lnTo>
                        <a:pt x="250" y="168"/>
                      </a:lnTo>
                      <a:lnTo>
                        <a:pt x="232" y="133"/>
                      </a:lnTo>
                      <a:lnTo>
                        <a:pt x="238" y="104"/>
                      </a:lnTo>
                      <a:lnTo>
                        <a:pt x="244" y="81"/>
                      </a:lnTo>
                      <a:lnTo>
                        <a:pt x="250" y="75"/>
                      </a:lnTo>
                      <a:lnTo>
                        <a:pt x="256" y="35"/>
                      </a:lnTo>
                      <a:lnTo>
                        <a:pt x="261" y="23"/>
                      </a:lnTo>
                      <a:lnTo>
                        <a:pt x="261" y="17"/>
                      </a:lnTo>
                      <a:lnTo>
                        <a:pt x="186" y="0"/>
                      </a:lnTo>
                      <a:lnTo>
                        <a:pt x="186" y="6"/>
                      </a:lnTo>
                      <a:lnTo>
                        <a:pt x="186" y="12"/>
                      </a:lnTo>
                      <a:lnTo>
                        <a:pt x="186" y="17"/>
                      </a:lnTo>
                      <a:lnTo>
                        <a:pt x="169" y="81"/>
                      </a:lnTo>
                      <a:lnTo>
                        <a:pt x="163" y="99"/>
                      </a:lnTo>
                      <a:lnTo>
                        <a:pt x="163" y="110"/>
                      </a:lnTo>
                      <a:lnTo>
                        <a:pt x="163" y="116"/>
                      </a:lnTo>
                      <a:lnTo>
                        <a:pt x="157" y="116"/>
                      </a:lnTo>
                      <a:lnTo>
                        <a:pt x="151" y="139"/>
                      </a:lnTo>
                      <a:lnTo>
                        <a:pt x="151" y="157"/>
                      </a:lnTo>
                      <a:lnTo>
                        <a:pt x="145" y="186"/>
                      </a:lnTo>
                      <a:lnTo>
                        <a:pt x="140" y="197"/>
                      </a:lnTo>
                      <a:lnTo>
                        <a:pt x="134" y="209"/>
                      </a:lnTo>
                      <a:lnTo>
                        <a:pt x="128" y="255"/>
                      </a:lnTo>
                      <a:lnTo>
                        <a:pt x="122" y="255"/>
                      </a:lnTo>
                      <a:lnTo>
                        <a:pt x="122" y="278"/>
                      </a:lnTo>
                      <a:lnTo>
                        <a:pt x="116" y="278"/>
                      </a:lnTo>
                      <a:lnTo>
                        <a:pt x="116" y="290"/>
                      </a:lnTo>
                      <a:lnTo>
                        <a:pt x="116" y="296"/>
                      </a:lnTo>
                      <a:lnTo>
                        <a:pt x="116" y="307"/>
                      </a:lnTo>
                      <a:lnTo>
                        <a:pt x="116" y="336"/>
                      </a:lnTo>
                      <a:lnTo>
                        <a:pt x="116" y="342"/>
                      </a:lnTo>
                      <a:lnTo>
                        <a:pt x="122" y="354"/>
                      </a:lnTo>
                      <a:lnTo>
                        <a:pt x="140" y="371"/>
                      </a:lnTo>
                      <a:lnTo>
                        <a:pt x="140" y="389"/>
                      </a:lnTo>
                      <a:lnTo>
                        <a:pt x="111" y="423"/>
                      </a:lnTo>
                      <a:lnTo>
                        <a:pt x="105" y="441"/>
                      </a:lnTo>
                      <a:lnTo>
                        <a:pt x="99" y="441"/>
                      </a:lnTo>
                      <a:lnTo>
                        <a:pt x="93" y="452"/>
                      </a:lnTo>
                      <a:lnTo>
                        <a:pt x="87" y="470"/>
                      </a:lnTo>
                      <a:lnTo>
                        <a:pt x="70" y="476"/>
                      </a:lnTo>
                      <a:lnTo>
                        <a:pt x="47" y="510"/>
                      </a:lnTo>
                      <a:lnTo>
                        <a:pt x="47" y="522"/>
                      </a:lnTo>
                      <a:lnTo>
                        <a:pt x="53" y="528"/>
                      </a:lnTo>
                      <a:lnTo>
                        <a:pt x="58" y="534"/>
                      </a:lnTo>
                      <a:lnTo>
                        <a:pt x="64" y="545"/>
                      </a:lnTo>
                      <a:close/>
                    </a:path>
                  </a:pathLst>
                </a:custGeom>
                <a:solidFill>
                  <a:srgbClr val="5B9BD5">
                    <a:lumMod val="40000"/>
                    <a:lumOff val="6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64" name="Freeform 63"/>
                <p:cNvSpPr>
                  <a:spLocks/>
                </p:cNvSpPr>
                <p:nvPr/>
              </p:nvSpPr>
              <p:spPr bwMode="auto">
                <a:xfrm>
                  <a:off x="1153738" y="205592"/>
                  <a:ext cx="1465264" cy="958595"/>
                </a:xfrm>
                <a:custGeom>
                  <a:avLst/>
                  <a:gdLst>
                    <a:gd name="T0" fmla="*/ 76 w 923"/>
                    <a:gd name="T1" fmla="*/ 424 h 604"/>
                    <a:gd name="T2" fmla="*/ 53 w 923"/>
                    <a:gd name="T3" fmla="*/ 412 h 604"/>
                    <a:gd name="T4" fmla="*/ 93 w 923"/>
                    <a:gd name="T5" fmla="*/ 308 h 604"/>
                    <a:gd name="T6" fmla="*/ 99 w 923"/>
                    <a:gd name="T7" fmla="*/ 290 h 604"/>
                    <a:gd name="T8" fmla="*/ 76 w 923"/>
                    <a:gd name="T9" fmla="*/ 290 h 604"/>
                    <a:gd name="T10" fmla="*/ 76 w 923"/>
                    <a:gd name="T11" fmla="*/ 279 h 604"/>
                    <a:gd name="T12" fmla="*/ 64 w 923"/>
                    <a:gd name="T13" fmla="*/ 279 h 604"/>
                    <a:gd name="T14" fmla="*/ 58 w 923"/>
                    <a:gd name="T15" fmla="*/ 250 h 604"/>
                    <a:gd name="T16" fmla="*/ 35 w 923"/>
                    <a:gd name="T17" fmla="*/ 209 h 604"/>
                    <a:gd name="T18" fmla="*/ 12 w 923"/>
                    <a:gd name="T19" fmla="*/ 180 h 604"/>
                    <a:gd name="T20" fmla="*/ 12 w 923"/>
                    <a:gd name="T21" fmla="*/ 169 h 604"/>
                    <a:gd name="T22" fmla="*/ 0 w 923"/>
                    <a:gd name="T23" fmla="*/ 116 h 604"/>
                    <a:gd name="T24" fmla="*/ 12 w 923"/>
                    <a:gd name="T25" fmla="*/ 64 h 604"/>
                    <a:gd name="T26" fmla="*/ 24 w 923"/>
                    <a:gd name="T27" fmla="*/ 18 h 604"/>
                    <a:gd name="T28" fmla="*/ 29 w 923"/>
                    <a:gd name="T29" fmla="*/ 0 h 604"/>
                    <a:gd name="T30" fmla="*/ 175 w 923"/>
                    <a:gd name="T31" fmla="*/ 35 h 604"/>
                    <a:gd name="T32" fmla="*/ 383 w 923"/>
                    <a:gd name="T33" fmla="*/ 76 h 604"/>
                    <a:gd name="T34" fmla="*/ 476 w 923"/>
                    <a:gd name="T35" fmla="*/ 93 h 604"/>
                    <a:gd name="T36" fmla="*/ 610 w 923"/>
                    <a:gd name="T37" fmla="*/ 111 h 604"/>
                    <a:gd name="T38" fmla="*/ 772 w 923"/>
                    <a:gd name="T39" fmla="*/ 134 h 604"/>
                    <a:gd name="T40" fmla="*/ 923 w 923"/>
                    <a:gd name="T41" fmla="*/ 145 h 604"/>
                    <a:gd name="T42" fmla="*/ 923 w 923"/>
                    <a:gd name="T43" fmla="*/ 186 h 604"/>
                    <a:gd name="T44" fmla="*/ 917 w 923"/>
                    <a:gd name="T45" fmla="*/ 203 h 604"/>
                    <a:gd name="T46" fmla="*/ 917 w 923"/>
                    <a:gd name="T47" fmla="*/ 250 h 604"/>
                    <a:gd name="T48" fmla="*/ 912 w 923"/>
                    <a:gd name="T49" fmla="*/ 279 h 604"/>
                    <a:gd name="T50" fmla="*/ 906 w 923"/>
                    <a:gd name="T51" fmla="*/ 331 h 604"/>
                    <a:gd name="T52" fmla="*/ 906 w 923"/>
                    <a:gd name="T53" fmla="*/ 360 h 604"/>
                    <a:gd name="T54" fmla="*/ 900 w 923"/>
                    <a:gd name="T55" fmla="*/ 418 h 604"/>
                    <a:gd name="T56" fmla="*/ 900 w 923"/>
                    <a:gd name="T57" fmla="*/ 435 h 604"/>
                    <a:gd name="T58" fmla="*/ 894 w 923"/>
                    <a:gd name="T59" fmla="*/ 464 h 604"/>
                    <a:gd name="T60" fmla="*/ 894 w 923"/>
                    <a:gd name="T61" fmla="*/ 499 h 604"/>
                    <a:gd name="T62" fmla="*/ 888 w 923"/>
                    <a:gd name="T63" fmla="*/ 517 h 604"/>
                    <a:gd name="T64" fmla="*/ 888 w 923"/>
                    <a:gd name="T65" fmla="*/ 581 h 604"/>
                    <a:gd name="T66" fmla="*/ 830 w 923"/>
                    <a:gd name="T67" fmla="*/ 598 h 604"/>
                    <a:gd name="T68" fmla="*/ 801 w 923"/>
                    <a:gd name="T69" fmla="*/ 598 h 604"/>
                    <a:gd name="T70" fmla="*/ 726 w 923"/>
                    <a:gd name="T71" fmla="*/ 586 h 604"/>
                    <a:gd name="T72" fmla="*/ 703 w 923"/>
                    <a:gd name="T73" fmla="*/ 586 h 604"/>
                    <a:gd name="T74" fmla="*/ 633 w 923"/>
                    <a:gd name="T75" fmla="*/ 575 h 604"/>
                    <a:gd name="T76" fmla="*/ 546 w 923"/>
                    <a:gd name="T77" fmla="*/ 563 h 604"/>
                    <a:gd name="T78" fmla="*/ 523 w 923"/>
                    <a:gd name="T79" fmla="*/ 563 h 604"/>
                    <a:gd name="T80" fmla="*/ 482 w 923"/>
                    <a:gd name="T81" fmla="*/ 557 h 604"/>
                    <a:gd name="T82" fmla="*/ 418 w 923"/>
                    <a:gd name="T83" fmla="*/ 546 h 604"/>
                    <a:gd name="T84" fmla="*/ 372 w 923"/>
                    <a:gd name="T85" fmla="*/ 540 h 604"/>
                    <a:gd name="T86" fmla="*/ 314 w 923"/>
                    <a:gd name="T87" fmla="*/ 569 h 604"/>
                    <a:gd name="T88" fmla="*/ 302 w 923"/>
                    <a:gd name="T89" fmla="*/ 586 h 604"/>
                    <a:gd name="T90" fmla="*/ 291 w 923"/>
                    <a:gd name="T91" fmla="*/ 552 h 604"/>
                    <a:gd name="T92" fmla="*/ 279 w 923"/>
                    <a:gd name="T93" fmla="*/ 563 h 604"/>
                    <a:gd name="T94" fmla="*/ 267 w 923"/>
                    <a:gd name="T95" fmla="*/ 569 h 604"/>
                    <a:gd name="T96" fmla="*/ 215 w 923"/>
                    <a:gd name="T97" fmla="*/ 563 h 604"/>
                    <a:gd name="T98" fmla="*/ 192 w 923"/>
                    <a:gd name="T99" fmla="*/ 569 h 604"/>
                    <a:gd name="T100" fmla="*/ 163 w 923"/>
                    <a:gd name="T101" fmla="*/ 569 h 604"/>
                    <a:gd name="T102" fmla="*/ 163 w 923"/>
                    <a:gd name="T103" fmla="*/ 575 h 604"/>
                    <a:gd name="T104" fmla="*/ 151 w 923"/>
                    <a:gd name="T105" fmla="*/ 523 h 604"/>
                    <a:gd name="T106" fmla="*/ 128 w 923"/>
                    <a:gd name="T107" fmla="*/ 493 h 604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923"/>
                    <a:gd name="T163" fmla="*/ 0 h 604"/>
                    <a:gd name="T164" fmla="*/ 923 w 923"/>
                    <a:gd name="T165" fmla="*/ 604 h 604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923" h="604">
                      <a:moveTo>
                        <a:pt x="105" y="406"/>
                      </a:moveTo>
                      <a:lnTo>
                        <a:pt x="76" y="424"/>
                      </a:lnTo>
                      <a:lnTo>
                        <a:pt x="70" y="424"/>
                      </a:lnTo>
                      <a:lnTo>
                        <a:pt x="53" y="412"/>
                      </a:lnTo>
                      <a:lnTo>
                        <a:pt x="87" y="308"/>
                      </a:lnTo>
                      <a:lnTo>
                        <a:pt x="93" y="308"/>
                      </a:lnTo>
                      <a:lnTo>
                        <a:pt x="99" y="296"/>
                      </a:lnTo>
                      <a:lnTo>
                        <a:pt x="99" y="290"/>
                      </a:lnTo>
                      <a:lnTo>
                        <a:pt x="87" y="290"/>
                      </a:lnTo>
                      <a:lnTo>
                        <a:pt x="76" y="290"/>
                      </a:lnTo>
                      <a:lnTo>
                        <a:pt x="76" y="285"/>
                      </a:lnTo>
                      <a:lnTo>
                        <a:pt x="76" y="279"/>
                      </a:lnTo>
                      <a:lnTo>
                        <a:pt x="64" y="285"/>
                      </a:lnTo>
                      <a:lnTo>
                        <a:pt x="64" y="279"/>
                      </a:lnTo>
                      <a:lnTo>
                        <a:pt x="70" y="273"/>
                      </a:lnTo>
                      <a:lnTo>
                        <a:pt x="58" y="250"/>
                      </a:lnTo>
                      <a:lnTo>
                        <a:pt x="53" y="244"/>
                      </a:lnTo>
                      <a:lnTo>
                        <a:pt x="35" y="209"/>
                      </a:lnTo>
                      <a:lnTo>
                        <a:pt x="29" y="203"/>
                      </a:lnTo>
                      <a:lnTo>
                        <a:pt x="12" y="180"/>
                      </a:lnTo>
                      <a:lnTo>
                        <a:pt x="18" y="180"/>
                      </a:lnTo>
                      <a:lnTo>
                        <a:pt x="12" y="169"/>
                      </a:lnTo>
                      <a:lnTo>
                        <a:pt x="18" y="151"/>
                      </a:lnTo>
                      <a:lnTo>
                        <a:pt x="0" y="116"/>
                      </a:lnTo>
                      <a:lnTo>
                        <a:pt x="6" y="87"/>
                      </a:lnTo>
                      <a:lnTo>
                        <a:pt x="12" y="64"/>
                      </a:lnTo>
                      <a:lnTo>
                        <a:pt x="18" y="58"/>
                      </a:lnTo>
                      <a:lnTo>
                        <a:pt x="24" y="18"/>
                      </a:lnTo>
                      <a:lnTo>
                        <a:pt x="29" y="6"/>
                      </a:lnTo>
                      <a:lnTo>
                        <a:pt x="29" y="0"/>
                      </a:lnTo>
                      <a:lnTo>
                        <a:pt x="128" y="24"/>
                      </a:lnTo>
                      <a:lnTo>
                        <a:pt x="175" y="35"/>
                      </a:lnTo>
                      <a:lnTo>
                        <a:pt x="314" y="64"/>
                      </a:lnTo>
                      <a:lnTo>
                        <a:pt x="383" y="76"/>
                      </a:lnTo>
                      <a:lnTo>
                        <a:pt x="424" y="82"/>
                      </a:lnTo>
                      <a:lnTo>
                        <a:pt x="476" y="93"/>
                      </a:lnTo>
                      <a:lnTo>
                        <a:pt x="517" y="99"/>
                      </a:lnTo>
                      <a:lnTo>
                        <a:pt x="610" y="111"/>
                      </a:lnTo>
                      <a:lnTo>
                        <a:pt x="691" y="122"/>
                      </a:lnTo>
                      <a:lnTo>
                        <a:pt x="772" y="134"/>
                      </a:lnTo>
                      <a:lnTo>
                        <a:pt x="848" y="140"/>
                      </a:lnTo>
                      <a:lnTo>
                        <a:pt x="923" y="145"/>
                      </a:lnTo>
                      <a:lnTo>
                        <a:pt x="923" y="174"/>
                      </a:lnTo>
                      <a:lnTo>
                        <a:pt x="923" y="186"/>
                      </a:lnTo>
                      <a:lnTo>
                        <a:pt x="923" y="192"/>
                      </a:lnTo>
                      <a:lnTo>
                        <a:pt x="917" y="203"/>
                      </a:lnTo>
                      <a:lnTo>
                        <a:pt x="917" y="215"/>
                      </a:lnTo>
                      <a:lnTo>
                        <a:pt x="917" y="250"/>
                      </a:lnTo>
                      <a:lnTo>
                        <a:pt x="917" y="261"/>
                      </a:lnTo>
                      <a:lnTo>
                        <a:pt x="912" y="279"/>
                      </a:lnTo>
                      <a:lnTo>
                        <a:pt x="912" y="290"/>
                      </a:lnTo>
                      <a:lnTo>
                        <a:pt x="906" y="331"/>
                      </a:lnTo>
                      <a:lnTo>
                        <a:pt x="906" y="337"/>
                      </a:lnTo>
                      <a:lnTo>
                        <a:pt x="906" y="360"/>
                      </a:lnTo>
                      <a:lnTo>
                        <a:pt x="900" y="406"/>
                      </a:lnTo>
                      <a:lnTo>
                        <a:pt x="900" y="418"/>
                      </a:lnTo>
                      <a:lnTo>
                        <a:pt x="900" y="430"/>
                      </a:lnTo>
                      <a:lnTo>
                        <a:pt x="900" y="435"/>
                      </a:lnTo>
                      <a:lnTo>
                        <a:pt x="894" y="459"/>
                      </a:lnTo>
                      <a:lnTo>
                        <a:pt x="894" y="464"/>
                      </a:lnTo>
                      <a:lnTo>
                        <a:pt x="894" y="482"/>
                      </a:lnTo>
                      <a:lnTo>
                        <a:pt x="894" y="499"/>
                      </a:lnTo>
                      <a:lnTo>
                        <a:pt x="894" y="505"/>
                      </a:lnTo>
                      <a:lnTo>
                        <a:pt x="888" y="517"/>
                      </a:lnTo>
                      <a:lnTo>
                        <a:pt x="888" y="575"/>
                      </a:lnTo>
                      <a:lnTo>
                        <a:pt x="888" y="581"/>
                      </a:lnTo>
                      <a:lnTo>
                        <a:pt x="883" y="604"/>
                      </a:lnTo>
                      <a:lnTo>
                        <a:pt x="830" y="598"/>
                      </a:lnTo>
                      <a:lnTo>
                        <a:pt x="819" y="598"/>
                      </a:lnTo>
                      <a:lnTo>
                        <a:pt x="801" y="598"/>
                      </a:lnTo>
                      <a:lnTo>
                        <a:pt x="732" y="586"/>
                      </a:lnTo>
                      <a:lnTo>
                        <a:pt x="726" y="586"/>
                      </a:lnTo>
                      <a:lnTo>
                        <a:pt x="714" y="586"/>
                      </a:lnTo>
                      <a:lnTo>
                        <a:pt x="703" y="586"/>
                      </a:lnTo>
                      <a:lnTo>
                        <a:pt x="645" y="581"/>
                      </a:lnTo>
                      <a:lnTo>
                        <a:pt x="633" y="575"/>
                      </a:lnTo>
                      <a:lnTo>
                        <a:pt x="569" y="569"/>
                      </a:lnTo>
                      <a:lnTo>
                        <a:pt x="546" y="563"/>
                      </a:lnTo>
                      <a:lnTo>
                        <a:pt x="534" y="563"/>
                      </a:lnTo>
                      <a:lnTo>
                        <a:pt x="523" y="563"/>
                      </a:lnTo>
                      <a:lnTo>
                        <a:pt x="517" y="563"/>
                      </a:lnTo>
                      <a:lnTo>
                        <a:pt x="482" y="557"/>
                      </a:lnTo>
                      <a:lnTo>
                        <a:pt x="476" y="552"/>
                      </a:lnTo>
                      <a:lnTo>
                        <a:pt x="418" y="546"/>
                      </a:lnTo>
                      <a:lnTo>
                        <a:pt x="407" y="546"/>
                      </a:lnTo>
                      <a:lnTo>
                        <a:pt x="372" y="540"/>
                      </a:lnTo>
                      <a:lnTo>
                        <a:pt x="320" y="528"/>
                      </a:lnTo>
                      <a:lnTo>
                        <a:pt x="314" y="569"/>
                      </a:lnTo>
                      <a:lnTo>
                        <a:pt x="308" y="586"/>
                      </a:lnTo>
                      <a:lnTo>
                        <a:pt x="302" y="586"/>
                      </a:lnTo>
                      <a:lnTo>
                        <a:pt x="296" y="569"/>
                      </a:lnTo>
                      <a:lnTo>
                        <a:pt x="291" y="552"/>
                      </a:lnTo>
                      <a:lnTo>
                        <a:pt x="279" y="557"/>
                      </a:lnTo>
                      <a:lnTo>
                        <a:pt x="279" y="563"/>
                      </a:lnTo>
                      <a:lnTo>
                        <a:pt x="273" y="575"/>
                      </a:lnTo>
                      <a:lnTo>
                        <a:pt x="267" y="569"/>
                      </a:lnTo>
                      <a:lnTo>
                        <a:pt x="227" y="569"/>
                      </a:lnTo>
                      <a:lnTo>
                        <a:pt x="215" y="563"/>
                      </a:lnTo>
                      <a:lnTo>
                        <a:pt x="204" y="569"/>
                      </a:lnTo>
                      <a:lnTo>
                        <a:pt x="192" y="569"/>
                      </a:lnTo>
                      <a:lnTo>
                        <a:pt x="175" y="563"/>
                      </a:lnTo>
                      <a:lnTo>
                        <a:pt x="163" y="569"/>
                      </a:lnTo>
                      <a:lnTo>
                        <a:pt x="169" y="575"/>
                      </a:lnTo>
                      <a:lnTo>
                        <a:pt x="163" y="575"/>
                      </a:lnTo>
                      <a:lnTo>
                        <a:pt x="151" y="563"/>
                      </a:lnTo>
                      <a:lnTo>
                        <a:pt x="151" y="523"/>
                      </a:lnTo>
                      <a:lnTo>
                        <a:pt x="128" y="505"/>
                      </a:lnTo>
                      <a:lnTo>
                        <a:pt x="128" y="493"/>
                      </a:lnTo>
                      <a:lnTo>
                        <a:pt x="105" y="406"/>
                      </a:lnTo>
                      <a:close/>
                    </a:path>
                  </a:pathLst>
                </a:custGeom>
                <a:solidFill>
                  <a:srgbClr val="5B9BD5">
                    <a:lumMod val="40000"/>
                    <a:lumOff val="6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65" name="Freeform 64"/>
                <p:cNvSpPr>
                  <a:spLocks/>
                </p:cNvSpPr>
                <p:nvPr/>
              </p:nvSpPr>
              <p:spPr bwMode="auto">
                <a:xfrm>
                  <a:off x="1550612" y="2516375"/>
                  <a:ext cx="1022349" cy="1041122"/>
                </a:xfrm>
                <a:custGeom>
                  <a:avLst/>
                  <a:gdLst>
                    <a:gd name="T0" fmla="*/ 81 w 644"/>
                    <a:gd name="T1" fmla="*/ 656 h 656"/>
                    <a:gd name="T2" fmla="*/ 174 w 644"/>
                    <a:gd name="T3" fmla="*/ 615 h 656"/>
                    <a:gd name="T4" fmla="*/ 244 w 644"/>
                    <a:gd name="T5" fmla="*/ 609 h 656"/>
                    <a:gd name="T6" fmla="*/ 267 w 644"/>
                    <a:gd name="T7" fmla="*/ 598 h 656"/>
                    <a:gd name="T8" fmla="*/ 296 w 644"/>
                    <a:gd name="T9" fmla="*/ 604 h 656"/>
                    <a:gd name="T10" fmla="*/ 366 w 644"/>
                    <a:gd name="T11" fmla="*/ 609 h 656"/>
                    <a:gd name="T12" fmla="*/ 412 w 644"/>
                    <a:gd name="T13" fmla="*/ 615 h 656"/>
                    <a:gd name="T14" fmla="*/ 464 w 644"/>
                    <a:gd name="T15" fmla="*/ 621 h 656"/>
                    <a:gd name="T16" fmla="*/ 499 w 644"/>
                    <a:gd name="T17" fmla="*/ 627 h 656"/>
                    <a:gd name="T18" fmla="*/ 522 w 644"/>
                    <a:gd name="T19" fmla="*/ 627 h 656"/>
                    <a:gd name="T20" fmla="*/ 540 w 644"/>
                    <a:gd name="T21" fmla="*/ 627 h 656"/>
                    <a:gd name="T22" fmla="*/ 569 w 644"/>
                    <a:gd name="T23" fmla="*/ 633 h 656"/>
                    <a:gd name="T24" fmla="*/ 592 w 644"/>
                    <a:gd name="T25" fmla="*/ 633 h 656"/>
                    <a:gd name="T26" fmla="*/ 592 w 644"/>
                    <a:gd name="T27" fmla="*/ 604 h 656"/>
                    <a:gd name="T28" fmla="*/ 598 w 644"/>
                    <a:gd name="T29" fmla="*/ 575 h 656"/>
                    <a:gd name="T30" fmla="*/ 598 w 644"/>
                    <a:gd name="T31" fmla="*/ 540 h 656"/>
                    <a:gd name="T32" fmla="*/ 604 w 644"/>
                    <a:gd name="T33" fmla="*/ 505 h 656"/>
                    <a:gd name="T34" fmla="*/ 609 w 644"/>
                    <a:gd name="T35" fmla="*/ 459 h 656"/>
                    <a:gd name="T36" fmla="*/ 609 w 644"/>
                    <a:gd name="T37" fmla="*/ 441 h 656"/>
                    <a:gd name="T38" fmla="*/ 609 w 644"/>
                    <a:gd name="T39" fmla="*/ 424 h 656"/>
                    <a:gd name="T40" fmla="*/ 615 w 644"/>
                    <a:gd name="T41" fmla="*/ 377 h 656"/>
                    <a:gd name="T42" fmla="*/ 615 w 644"/>
                    <a:gd name="T43" fmla="*/ 366 h 656"/>
                    <a:gd name="T44" fmla="*/ 615 w 644"/>
                    <a:gd name="T45" fmla="*/ 348 h 656"/>
                    <a:gd name="T46" fmla="*/ 621 w 644"/>
                    <a:gd name="T47" fmla="*/ 308 h 656"/>
                    <a:gd name="T48" fmla="*/ 621 w 644"/>
                    <a:gd name="T49" fmla="*/ 296 h 656"/>
                    <a:gd name="T50" fmla="*/ 621 w 644"/>
                    <a:gd name="T51" fmla="*/ 279 h 656"/>
                    <a:gd name="T52" fmla="*/ 627 w 644"/>
                    <a:gd name="T53" fmla="*/ 261 h 656"/>
                    <a:gd name="T54" fmla="*/ 627 w 644"/>
                    <a:gd name="T55" fmla="*/ 221 h 656"/>
                    <a:gd name="T56" fmla="*/ 633 w 644"/>
                    <a:gd name="T57" fmla="*/ 169 h 656"/>
                    <a:gd name="T58" fmla="*/ 644 w 644"/>
                    <a:gd name="T59" fmla="*/ 93 h 656"/>
                    <a:gd name="T60" fmla="*/ 644 w 644"/>
                    <a:gd name="T61" fmla="*/ 64 h 656"/>
                    <a:gd name="T62" fmla="*/ 615 w 644"/>
                    <a:gd name="T63" fmla="*/ 58 h 656"/>
                    <a:gd name="T64" fmla="*/ 551 w 644"/>
                    <a:gd name="T65" fmla="*/ 58 h 656"/>
                    <a:gd name="T66" fmla="*/ 470 w 644"/>
                    <a:gd name="T67" fmla="*/ 47 h 656"/>
                    <a:gd name="T68" fmla="*/ 441 w 644"/>
                    <a:gd name="T69" fmla="*/ 47 h 656"/>
                    <a:gd name="T70" fmla="*/ 383 w 644"/>
                    <a:gd name="T71" fmla="*/ 41 h 656"/>
                    <a:gd name="T72" fmla="*/ 331 w 644"/>
                    <a:gd name="T73" fmla="*/ 29 h 656"/>
                    <a:gd name="T74" fmla="*/ 238 w 644"/>
                    <a:gd name="T75" fmla="*/ 18 h 656"/>
                    <a:gd name="T76" fmla="*/ 157 w 644"/>
                    <a:gd name="T77" fmla="*/ 6 h 656"/>
                    <a:gd name="T78" fmla="*/ 122 w 644"/>
                    <a:gd name="T79" fmla="*/ 6 h 656"/>
                    <a:gd name="T80" fmla="*/ 93 w 644"/>
                    <a:gd name="T81" fmla="*/ 29 h 656"/>
                    <a:gd name="T82" fmla="*/ 75 w 644"/>
                    <a:gd name="T83" fmla="*/ 111 h 656"/>
                    <a:gd name="T84" fmla="*/ 70 w 644"/>
                    <a:gd name="T85" fmla="*/ 169 h 656"/>
                    <a:gd name="T86" fmla="*/ 58 w 644"/>
                    <a:gd name="T87" fmla="*/ 250 h 656"/>
                    <a:gd name="T88" fmla="*/ 52 w 644"/>
                    <a:gd name="T89" fmla="*/ 296 h 656"/>
                    <a:gd name="T90" fmla="*/ 41 w 644"/>
                    <a:gd name="T91" fmla="*/ 366 h 656"/>
                    <a:gd name="T92" fmla="*/ 29 w 644"/>
                    <a:gd name="T93" fmla="*/ 435 h 656"/>
                    <a:gd name="T94" fmla="*/ 23 w 644"/>
                    <a:gd name="T95" fmla="*/ 476 h 656"/>
                    <a:gd name="T96" fmla="*/ 17 w 644"/>
                    <a:gd name="T97" fmla="*/ 511 h 656"/>
                    <a:gd name="T98" fmla="*/ 0 w 644"/>
                    <a:gd name="T99" fmla="*/ 615 h 656"/>
                    <a:gd name="T100" fmla="*/ 0 w 644"/>
                    <a:gd name="T101" fmla="*/ 638 h 65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644"/>
                    <a:gd name="T154" fmla="*/ 0 h 656"/>
                    <a:gd name="T155" fmla="*/ 644 w 644"/>
                    <a:gd name="T156" fmla="*/ 656 h 65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644" h="656">
                      <a:moveTo>
                        <a:pt x="17" y="644"/>
                      </a:moveTo>
                      <a:lnTo>
                        <a:pt x="81" y="656"/>
                      </a:lnTo>
                      <a:lnTo>
                        <a:pt x="87" y="604"/>
                      </a:lnTo>
                      <a:lnTo>
                        <a:pt x="174" y="615"/>
                      </a:lnTo>
                      <a:lnTo>
                        <a:pt x="250" y="621"/>
                      </a:lnTo>
                      <a:lnTo>
                        <a:pt x="244" y="609"/>
                      </a:lnTo>
                      <a:lnTo>
                        <a:pt x="244" y="598"/>
                      </a:lnTo>
                      <a:lnTo>
                        <a:pt x="267" y="598"/>
                      </a:lnTo>
                      <a:lnTo>
                        <a:pt x="284" y="604"/>
                      </a:lnTo>
                      <a:lnTo>
                        <a:pt x="296" y="604"/>
                      </a:lnTo>
                      <a:lnTo>
                        <a:pt x="308" y="604"/>
                      </a:lnTo>
                      <a:lnTo>
                        <a:pt x="366" y="609"/>
                      </a:lnTo>
                      <a:lnTo>
                        <a:pt x="395" y="615"/>
                      </a:lnTo>
                      <a:lnTo>
                        <a:pt x="412" y="615"/>
                      </a:lnTo>
                      <a:lnTo>
                        <a:pt x="418" y="615"/>
                      </a:lnTo>
                      <a:lnTo>
                        <a:pt x="464" y="621"/>
                      </a:lnTo>
                      <a:lnTo>
                        <a:pt x="476" y="621"/>
                      </a:lnTo>
                      <a:lnTo>
                        <a:pt x="499" y="627"/>
                      </a:lnTo>
                      <a:lnTo>
                        <a:pt x="505" y="627"/>
                      </a:lnTo>
                      <a:lnTo>
                        <a:pt x="522" y="627"/>
                      </a:lnTo>
                      <a:lnTo>
                        <a:pt x="528" y="627"/>
                      </a:lnTo>
                      <a:lnTo>
                        <a:pt x="540" y="627"/>
                      </a:lnTo>
                      <a:lnTo>
                        <a:pt x="563" y="633"/>
                      </a:lnTo>
                      <a:lnTo>
                        <a:pt x="569" y="633"/>
                      </a:lnTo>
                      <a:lnTo>
                        <a:pt x="586" y="633"/>
                      </a:lnTo>
                      <a:lnTo>
                        <a:pt x="592" y="633"/>
                      </a:lnTo>
                      <a:lnTo>
                        <a:pt x="592" y="621"/>
                      </a:lnTo>
                      <a:lnTo>
                        <a:pt x="592" y="604"/>
                      </a:lnTo>
                      <a:lnTo>
                        <a:pt x="598" y="580"/>
                      </a:lnTo>
                      <a:lnTo>
                        <a:pt x="598" y="575"/>
                      </a:lnTo>
                      <a:lnTo>
                        <a:pt x="598" y="563"/>
                      </a:lnTo>
                      <a:lnTo>
                        <a:pt x="598" y="540"/>
                      </a:lnTo>
                      <a:lnTo>
                        <a:pt x="604" y="522"/>
                      </a:lnTo>
                      <a:lnTo>
                        <a:pt x="604" y="505"/>
                      </a:lnTo>
                      <a:lnTo>
                        <a:pt x="604" y="476"/>
                      </a:lnTo>
                      <a:lnTo>
                        <a:pt x="609" y="459"/>
                      </a:lnTo>
                      <a:lnTo>
                        <a:pt x="609" y="453"/>
                      </a:lnTo>
                      <a:lnTo>
                        <a:pt x="609" y="441"/>
                      </a:lnTo>
                      <a:lnTo>
                        <a:pt x="609" y="435"/>
                      </a:lnTo>
                      <a:lnTo>
                        <a:pt x="609" y="424"/>
                      </a:lnTo>
                      <a:lnTo>
                        <a:pt x="615" y="406"/>
                      </a:lnTo>
                      <a:lnTo>
                        <a:pt x="615" y="377"/>
                      </a:lnTo>
                      <a:lnTo>
                        <a:pt x="615" y="372"/>
                      </a:lnTo>
                      <a:lnTo>
                        <a:pt x="615" y="366"/>
                      </a:lnTo>
                      <a:lnTo>
                        <a:pt x="615" y="354"/>
                      </a:lnTo>
                      <a:lnTo>
                        <a:pt x="615" y="348"/>
                      </a:lnTo>
                      <a:lnTo>
                        <a:pt x="621" y="319"/>
                      </a:lnTo>
                      <a:lnTo>
                        <a:pt x="621" y="308"/>
                      </a:lnTo>
                      <a:lnTo>
                        <a:pt x="621" y="302"/>
                      </a:lnTo>
                      <a:lnTo>
                        <a:pt x="621" y="296"/>
                      </a:lnTo>
                      <a:lnTo>
                        <a:pt x="621" y="290"/>
                      </a:lnTo>
                      <a:lnTo>
                        <a:pt x="621" y="279"/>
                      </a:lnTo>
                      <a:lnTo>
                        <a:pt x="621" y="267"/>
                      </a:lnTo>
                      <a:lnTo>
                        <a:pt x="627" y="261"/>
                      </a:lnTo>
                      <a:lnTo>
                        <a:pt x="627" y="250"/>
                      </a:lnTo>
                      <a:lnTo>
                        <a:pt x="627" y="221"/>
                      </a:lnTo>
                      <a:lnTo>
                        <a:pt x="627" y="203"/>
                      </a:lnTo>
                      <a:lnTo>
                        <a:pt x="633" y="169"/>
                      </a:lnTo>
                      <a:lnTo>
                        <a:pt x="638" y="122"/>
                      </a:lnTo>
                      <a:lnTo>
                        <a:pt x="644" y="93"/>
                      </a:lnTo>
                      <a:lnTo>
                        <a:pt x="644" y="76"/>
                      </a:lnTo>
                      <a:lnTo>
                        <a:pt x="644" y="64"/>
                      </a:lnTo>
                      <a:lnTo>
                        <a:pt x="638" y="64"/>
                      </a:lnTo>
                      <a:lnTo>
                        <a:pt x="615" y="58"/>
                      </a:lnTo>
                      <a:lnTo>
                        <a:pt x="609" y="58"/>
                      </a:lnTo>
                      <a:lnTo>
                        <a:pt x="551" y="58"/>
                      </a:lnTo>
                      <a:lnTo>
                        <a:pt x="517" y="53"/>
                      </a:lnTo>
                      <a:lnTo>
                        <a:pt x="470" y="47"/>
                      </a:lnTo>
                      <a:lnTo>
                        <a:pt x="447" y="47"/>
                      </a:lnTo>
                      <a:lnTo>
                        <a:pt x="441" y="47"/>
                      </a:lnTo>
                      <a:lnTo>
                        <a:pt x="395" y="41"/>
                      </a:lnTo>
                      <a:lnTo>
                        <a:pt x="383" y="41"/>
                      </a:lnTo>
                      <a:lnTo>
                        <a:pt x="371" y="35"/>
                      </a:lnTo>
                      <a:lnTo>
                        <a:pt x="331" y="29"/>
                      </a:lnTo>
                      <a:lnTo>
                        <a:pt x="244" y="18"/>
                      </a:lnTo>
                      <a:lnTo>
                        <a:pt x="238" y="18"/>
                      </a:lnTo>
                      <a:lnTo>
                        <a:pt x="180" y="12"/>
                      </a:lnTo>
                      <a:lnTo>
                        <a:pt x="157" y="6"/>
                      </a:lnTo>
                      <a:lnTo>
                        <a:pt x="128" y="6"/>
                      </a:lnTo>
                      <a:lnTo>
                        <a:pt x="122" y="6"/>
                      </a:lnTo>
                      <a:lnTo>
                        <a:pt x="93" y="0"/>
                      </a:lnTo>
                      <a:lnTo>
                        <a:pt x="93" y="29"/>
                      </a:lnTo>
                      <a:lnTo>
                        <a:pt x="87" y="58"/>
                      </a:lnTo>
                      <a:lnTo>
                        <a:pt x="75" y="111"/>
                      </a:lnTo>
                      <a:lnTo>
                        <a:pt x="70" y="163"/>
                      </a:lnTo>
                      <a:lnTo>
                        <a:pt x="70" y="169"/>
                      </a:lnTo>
                      <a:lnTo>
                        <a:pt x="58" y="232"/>
                      </a:lnTo>
                      <a:lnTo>
                        <a:pt x="58" y="250"/>
                      </a:lnTo>
                      <a:lnTo>
                        <a:pt x="52" y="273"/>
                      </a:lnTo>
                      <a:lnTo>
                        <a:pt x="52" y="296"/>
                      </a:lnTo>
                      <a:lnTo>
                        <a:pt x="46" y="337"/>
                      </a:lnTo>
                      <a:lnTo>
                        <a:pt x="41" y="366"/>
                      </a:lnTo>
                      <a:lnTo>
                        <a:pt x="29" y="430"/>
                      </a:lnTo>
                      <a:lnTo>
                        <a:pt x="29" y="435"/>
                      </a:lnTo>
                      <a:lnTo>
                        <a:pt x="29" y="453"/>
                      </a:lnTo>
                      <a:lnTo>
                        <a:pt x="23" y="476"/>
                      </a:lnTo>
                      <a:lnTo>
                        <a:pt x="23" y="482"/>
                      </a:lnTo>
                      <a:lnTo>
                        <a:pt x="17" y="511"/>
                      </a:lnTo>
                      <a:lnTo>
                        <a:pt x="17" y="517"/>
                      </a:lnTo>
                      <a:lnTo>
                        <a:pt x="0" y="615"/>
                      </a:lnTo>
                      <a:lnTo>
                        <a:pt x="0" y="621"/>
                      </a:lnTo>
                      <a:lnTo>
                        <a:pt x="0" y="638"/>
                      </a:lnTo>
                      <a:lnTo>
                        <a:pt x="17" y="644"/>
                      </a:lnTo>
                      <a:close/>
                    </a:path>
                  </a:pathLst>
                </a:custGeom>
                <a:solidFill>
                  <a:srgbClr val="5B9BD5">
                    <a:lumMod val="40000"/>
                    <a:lumOff val="6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66" name="Freeform 65"/>
                <p:cNvSpPr>
                  <a:spLocks/>
                </p:cNvSpPr>
                <p:nvPr/>
              </p:nvSpPr>
              <p:spPr bwMode="auto">
                <a:xfrm>
                  <a:off x="33938" y="1484326"/>
                  <a:ext cx="930274" cy="1407735"/>
                </a:xfrm>
                <a:custGeom>
                  <a:avLst/>
                  <a:gdLst>
                    <a:gd name="T0" fmla="*/ 0 w 586"/>
                    <a:gd name="T1" fmla="*/ 330 h 887"/>
                    <a:gd name="T2" fmla="*/ 11 w 586"/>
                    <a:gd name="T3" fmla="*/ 336 h 887"/>
                    <a:gd name="T4" fmla="*/ 29 w 586"/>
                    <a:gd name="T5" fmla="*/ 365 h 887"/>
                    <a:gd name="T6" fmla="*/ 35 w 586"/>
                    <a:gd name="T7" fmla="*/ 377 h 887"/>
                    <a:gd name="T8" fmla="*/ 52 w 586"/>
                    <a:gd name="T9" fmla="*/ 400 h 887"/>
                    <a:gd name="T10" fmla="*/ 58 w 586"/>
                    <a:gd name="T11" fmla="*/ 411 h 887"/>
                    <a:gd name="T12" fmla="*/ 81 w 586"/>
                    <a:gd name="T13" fmla="*/ 452 h 887"/>
                    <a:gd name="T14" fmla="*/ 133 w 586"/>
                    <a:gd name="T15" fmla="*/ 527 h 887"/>
                    <a:gd name="T16" fmla="*/ 145 w 586"/>
                    <a:gd name="T17" fmla="*/ 551 h 887"/>
                    <a:gd name="T18" fmla="*/ 162 w 586"/>
                    <a:gd name="T19" fmla="*/ 580 h 887"/>
                    <a:gd name="T20" fmla="*/ 232 w 586"/>
                    <a:gd name="T21" fmla="*/ 684 h 887"/>
                    <a:gd name="T22" fmla="*/ 278 w 586"/>
                    <a:gd name="T23" fmla="*/ 754 h 887"/>
                    <a:gd name="T24" fmla="*/ 296 w 586"/>
                    <a:gd name="T25" fmla="*/ 783 h 887"/>
                    <a:gd name="T26" fmla="*/ 348 w 586"/>
                    <a:gd name="T27" fmla="*/ 858 h 887"/>
                    <a:gd name="T28" fmla="*/ 377 w 586"/>
                    <a:gd name="T29" fmla="*/ 864 h 887"/>
                    <a:gd name="T30" fmla="*/ 389 w 586"/>
                    <a:gd name="T31" fmla="*/ 788 h 887"/>
                    <a:gd name="T32" fmla="*/ 406 w 586"/>
                    <a:gd name="T33" fmla="*/ 765 h 887"/>
                    <a:gd name="T34" fmla="*/ 447 w 586"/>
                    <a:gd name="T35" fmla="*/ 765 h 887"/>
                    <a:gd name="T36" fmla="*/ 470 w 586"/>
                    <a:gd name="T37" fmla="*/ 678 h 887"/>
                    <a:gd name="T38" fmla="*/ 482 w 586"/>
                    <a:gd name="T39" fmla="*/ 632 h 887"/>
                    <a:gd name="T40" fmla="*/ 487 w 586"/>
                    <a:gd name="T41" fmla="*/ 591 h 887"/>
                    <a:gd name="T42" fmla="*/ 499 w 586"/>
                    <a:gd name="T43" fmla="*/ 533 h 887"/>
                    <a:gd name="T44" fmla="*/ 505 w 586"/>
                    <a:gd name="T45" fmla="*/ 504 h 887"/>
                    <a:gd name="T46" fmla="*/ 511 w 586"/>
                    <a:gd name="T47" fmla="*/ 493 h 887"/>
                    <a:gd name="T48" fmla="*/ 528 w 586"/>
                    <a:gd name="T49" fmla="*/ 400 h 887"/>
                    <a:gd name="T50" fmla="*/ 534 w 586"/>
                    <a:gd name="T51" fmla="*/ 371 h 887"/>
                    <a:gd name="T52" fmla="*/ 540 w 586"/>
                    <a:gd name="T53" fmla="*/ 342 h 887"/>
                    <a:gd name="T54" fmla="*/ 545 w 586"/>
                    <a:gd name="T55" fmla="*/ 307 h 887"/>
                    <a:gd name="T56" fmla="*/ 563 w 586"/>
                    <a:gd name="T57" fmla="*/ 232 h 887"/>
                    <a:gd name="T58" fmla="*/ 586 w 586"/>
                    <a:gd name="T59" fmla="*/ 133 h 887"/>
                    <a:gd name="T60" fmla="*/ 569 w 586"/>
                    <a:gd name="T61" fmla="*/ 116 h 887"/>
                    <a:gd name="T62" fmla="*/ 528 w 586"/>
                    <a:gd name="T63" fmla="*/ 110 h 887"/>
                    <a:gd name="T64" fmla="*/ 418 w 586"/>
                    <a:gd name="T65" fmla="*/ 87 h 887"/>
                    <a:gd name="T66" fmla="*/ 319 w 586"/>
                    <a:gd name="T67" fmla="*/ 58 h 887"/>
                    <a:gd name="T68" fmla="*/ 220 w 586"/>
                    <a:gd name="T69" fmla="*/ 34 h 887"/>
                    <a:gd name="T70" fmla="*/ 151 w 586"/>
                    <a:gd name="T71" fmla="*/ 17 h 887"/>
                    <a:gd name="T72" fmla="*/ 133 w 586"/>
                    <a:gd name="T73" fmla="*/ 11 h 887"/>
                    <a:gd name="T74" fmla="*/ 93 w 586"/>
                    <a:gd name="T75" fmla="*/ 0 h 887"/>
                    <a:gd name="T76" fmla="*/ 75 w 586"/>
                    <a:gd name="T77" fmla="*/ 69 h 887"/>
                    <a:gd name="T78" fmla="*/ 52 w 586"/>
                    <a:gd name="T79" fmla="*/ 162 h 887"/>
                    <a:gd name="T80" fmla="*/ 23 w 586"/>
                    <a:gd name="T81" fmla="*/ 249 h 887"/>
                    <a:gd name="T82" fmla="*/ 17 w 586"/>
                    <a:gd name="T83" fmla="*/ 272 h 887"/>
                    <a:gd name="T84" fmla="*/ 11 w 586"/>
                    <a:gd name="T85" fmla="*/ 290 h 887"/>
                    <a:gd name="T86" fmla="*/ 11 w 586"/>
                    <a:gd name="T87" fmla="*/ 301 h 887"/>
                    <a:gd name="T88" fmla="*/ 6 w 586"/>
                    <a:gd name="T89" fmla="*/ 319 h 887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586"/>
                    <a:gd name="T136" fmla="*/ 0 h 887"/>
                    <a:gd name="T137" fmla="*/ 586 w 586"/>
                    <a:gd name="T138" fmla="*/ 887 h 887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586" h="887">
                      <a:moveTo>
                        <a:pt x="6" y="319"/>
                      </a:moveTo>
                      <a:lnTo>
                        <a:pt x="0" y="330"/>
                      </a:lnTo>
                      <a:lnTo>
                        <a:pt x="6" y="336"/>
                      </a:lnTo>
                      <a:lnTo>
                        <a:pt x="11" y="336"/>
                      </a:lnTo>
                      <a:lnTo>
                        <a:pt x="11" y="342"/>
                      </a:lnTo>
                      <a:lnTo>
                        <a:pt x="29" y="365"/>
                      </a:lnTo>
                      <a:lnTo>
                        <a:pt x="29" y="371"/>
                      </a:lnTo>
                      <a:lnTo>
                        <a:pt x="35" y="377"/>
                      </a:lnTo>
                      <a:lnTo>
                        <a:pt x="46" y="394"/>
                      </a:lnTo>
                      <a:lnTo>
                        <a:pt x="52" y="400"/>
                      </a:lnTo>
                      <a:lnTo>
                        <a:pt x="52" y="406"/>
                      </a:lnTo>
                      <a:lnTo>
                        <a:pt x="58" y="411"/>
                      </a:lnTo>
                      <a:lnTo>
                        <a:pt x="75" y="435"/>
                      </a:lnTo>
                      <a:lnTo>
                        <a:pt x="81" y="452"/>
                      </a:lnTo>
                      <a:lnTo>
                        <a:pt x="104" y="487"/>
                      </a:lnTo>
                      <a:lnTo>
                        <a:pt x="133" y="527"/>
                      </a:lnTo>
                      <a:lnTo>
                        <a:pt x="139" y="545"/>
                      </a:lnTo>
                      <a:lnTo>
                        <a:pt x="145" y="551"/>
                      </a:lnTo>
                      <a:lnTo>
                        <a:pt x="162" y="574"/>
                      </a:lnTo>
                      <a:lnTo>
                        <a:pt x="162" y="580"/>
                      </a:lnTo>
                      <a:lnTo>
                        <a:pt x="191" y="614"/>
                      </a:lnTo>
                      <a:lnTo>
                        <a:pt x="232" y="684"/>
                      </a:lnTo>
                      <a:lnTo>
                        <a:pt x="255" y="713"/>
                      </a:lnTo>
                      <a:lnTo>
                        <a:pt x="278" y="754"/>
                      </a:lnTo>
                      <a:lnTo>
                        <a:pt x="290" y="765"/>
                      </a:lnTo>
                      <a:lnTo>
                        <a:pt x="296" y="783"/>
                      </a:lnTo>
                      <a:lnTo>
                        <a:pt x="325" y="823"/>
                      </a:lnTo>
                      <a:lnTo>
                        <a:pt x="348" y="858"/>
                      </a:lnTo>
                      <a:lnTo>
                        <a:pt x="371" y="887"/>
                      </a:lnTo>
                      <a:lnTo>
                        <a:pt x="377" y="864"/>
                      </a:lnTo>
                      <a:lnTo>
                        <a:pt x="383" y="806"/>
                      </a:lnTo>
                      <a:lnTo>
                        <a:pt x="389" y="788"/>
                      </a:lnTo>
                      <a:lnTo>
                        <a:pt x="383" y="765"/>
                      </a:lnTo>
                      <a:lnTo>
                        <a:pt x="406" y="765"/>
                      </a:lnTo>
                      <a:lnTo>
                        <a:pt x="429" y="783"/>
                      </a:lnTo>
                      <a:lnTo>
                        <a:pt x="447" y="765"/>
                      </a:lnTo>
                      <a:lnTo>
                        <a:pt x="464" y="696"/>
                      </a:lnTo>
                      <a:lnTo>
                        <a:pt x="470" y="678"/>
                      </a:lnTo>
                      <a:lnTo>
                        <a:pt x="470" y="667"/>
                      </a:lnTo>
                      <a:lnTo>
                        <a:pt x="482" y="632"/>
                      </a:lnTo>
                      <a:lnTo>
                        <a:pt x="482" y="609"/>
                      </a:lnTo>
                      <a:lnTo>
                        <a:pt x="487" y="591"/>
                      </a:lnTo>
                      <a:lnTo>
                        <a:pt x="493" y="551"/>
                      </a:lnTo>
                      <a:lnTo>
                        <a:pt x="499" y="533"/>
                      </a:lnTo>
                      <a:lnTo>
                        <a:pt x="505" y="510"/>
                      </a:lnTo>
                      <a:lnTo>
                        <a:pt x="505" y="504"/>
                      </a:lnTo>
                      <a:lnTo>
                        <a:pt x="505" y="498"/>
                      </a:lnTo>
                      <a:lnTo>
                        <a:pt x="511" y="493"/>
                      </a:lnTo>
                      <a:lnTo>
                        <a:pt x="511" y="469"/>
                      </a:lnTo>
                      <a:lnTo>
                        <a:pt x="528" y="400"/>
                      </a:lnTo>
                      <a:lnTo>
                        <a:pt x="528" y="394"/>
                      </a:lnTo>
                      <a:lnTo>
                        <a:pt x="534" y="371"/>
                      </a:lnTo>
                      <a:lnTo>
                        <a:pt x="540" y="353"/>
                      </a:lnTo>
                      <a:lnTo>
                        <a:pt x="540" y="342"/>
                      </a:lnTo>
                      <a:lnTo>
                        <a:pt x="540" y="330"/>
                      </a:lnTo>
                      <a:lnTo>
                        <a:pt x="545" y="307"/>
                      </a:lnTo>
                      <a:lnTo>
                        <a:pt x="557" y="272"/>
                      </a:lnTo>
                      <a:lnTo>
                        <a:pt x="563" y="232"/>
                      </a:lnTo>
                      <a:lnTo>
                        <a:pt x="569" y="197"/>
                      </a:lnTo>
                      <a:lnTo>
                        <a:pt x="586" y="133"/>
                      </a:lnTo>
                      <a:lnTo>
                        <a:pt x="586" y="121"/>
                      </a:lnTo>
                      <a:lnTo>
                        <a:pt x="569" y="116"/>
                      </a:lnTo>
                      <a:lnTo>
                        <a:pt x="540" y="110"/>
                      </a:lnTo>
                      <a:lnTo>
                        <a:pt x="528" y="110"/>
                      </a:lnTo>
                      <a:lnTo>
                        <a:pt x="505" y="104"/>
                      </a:lnTo>
                      <a:lnTo>
                        <a:pt x="418" y="87"/>
                      </a:lnTo>
                      <a:lnTo>
                        <a:pt x="342" y="63"/>
                      </a:lnTo>
                      <a:lnTo>
                        <a:pt x="319" y="58"/>
                      </a:lnTo>
                      <a:lnTo>
                        <a:pt x="244" y="40"/>
                      </a:lnTo>
                      <a:lnTo>
                        <a:pt x="220" y="34"/>
                      </a:lnTo>
                      <a:lnTo>
                        <a:pt x="203" y="29"/>
                      </a:lnTo>
                      <a:lnTo>
                        <a:pt x="151" y="17"/>
                      </a:lnTo>
                      <a:lnTo>
                        <a:pt x="145" y="17"/>
                      </a:lnTo>
                      <a:lnTo>
                        <a:pt x="133" y="11"/>
                      </a:lnTo>
                      <a:lnTo>
                        <a:pt x="104" y="5"/>
                      </a:lnTo>
                      <a:lnTo>
                        <a:pt x="93" y="0"/>
                      </a:lnTo>
                      <a:lnTo>
                        <a:pt x="87" y="23"/>
                      </a:lnTo>
                      <a:lnTo>
                        <a:pt x="75" y="69"/>
                      </a:lnTo>
                      <a:lnTo>
                        <a:pt x="70" y="92"/>
                      </a:lnTo>
                      <a:lnTo>
                        <a:pt x="52" y="162"/>
                      </a:lnTo>
                      <a:lnTo>
                        <a:pt x="35" y="226"/>
                      </a:lnTo>
                      <a:lnTo>
                        <a:pt x="23" y="249"/>
                      </a:lnTo>
                      <a:lnTo>
                        <a:pt x="23" y="261"/>
                      </a:lnTo>
                      <a:lnTo>
                        <a:pt x="17" y="272"/>
                      </a:lnTo>
                      <a:lnTo>
                        <a:pt x="17" y="278"/>
                      </a:lnTo>
                      <a:lnTo>
                        <a:pt x="11" y="290"/>
                      </a:lnTo>
                      <a:lnTo>
                        <a:pt x="11" y="295"/>
                      </a:lnTo>
                      <a:lnTo>
                        <a:pt x="11" y="301"/>
                      </a:lnTo>
                      <a:lnTo>
                        <a:pt x="6" y="313"/>
                      </a:lnTo>
                      <a:lnTo>
                        <a:pt x="6" y="319"/>
                      </a:lnTo>
                      <a:close/>
                    </a:path>
                  </a:pathLst>
                </a:custGeom>
                <a:solidFill>
                  <a:srgbClr val="E7E6E6">
                    <a:lumMod val="9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67" name="Freeform 66"/>
                <p:cNvSpPr>
                  <a:spLocks/>
                </p:cNvSpPr>
                <p:nvPr/>
              </p:nvSpPr>
              <p:spPr bwMode="auto">
                <a:xfrm>
                  <a:off x="-235695" y="427735"/>
                  <a:ext cx="1243382" cy="983986"/>
                </a:xfrm>
                <a:custGeom>
                  <a:avLst/>
                  <a:gdLst>
                    <a:gd name="T0" fmla="*/ 651 w 738"/>
                    <a:gd name="T1" fmla="*/ 371 h 620"/>
                    <a:gd name="T2" fmla="*/ 662 w 738"/>
                    <a:gd name="T3" fmla="*/ 388 h 620"/>
                    <a:gd name="T4" fmla="*/ 645 w 738"/>
                    <a:gd name="T5" fmla="*/ 423 h 620"/>
                    <a:gd name="T6" fmla="*/ 639 w 738"/>
                    <a:gd name="T7" fmla="*/ 446 h 620"/>
                    <a:gd name="T8" fmla="*/ 598 w 738"/>
                    <a:gd name="T9" fmla="*/ 620 h 620"/>
                    <a:gd name="T10" fmla="*/ 500 w 738"/>
                    <a:gd name="T11" fmla="*/ 597 h 620"/>
                    <a:gd name="T12" fmla="*/ 459 w 738"/>
                    <a:gd name="T13" fmla="*/ 586 h 620"/>
                    <a:gd name="T14" fmla="*/ 401 w 738"/>
                    <a:gd name="T15" fmla="*/ 574 h 620"/>
                    <a:gd name="T16" fmla="*/ 360 w 738"/>
                    <a:gd name="T17" fmla="*/ 562 h 620"/>
                    <a:gd name="T18" fmla="*/ 337 w 738"/>
                    <a:gd name="T19" fmla="*/ 551 h 620"/>
                    <a:gd name="T20" fmla="*/ 279 w 738"/>
                    <a:gd name="T21" fmla="*/ 539 h 620"/>
                    <a:gd name="T22" fmla="*/ 244 w 738"/>
                    <a:gd name="T23" fmla="*/ 528 h 620"/>
                    <a:gd name="T24" fmla="*/ 186 w 738"/>
                    <a:gd name="T25" fmla="*/ 510 h 620"/>
                    <a:gd name="T26" fmla="*/ 163 w 738"/>
                    <a:gd name="T27" fmla="*/ 499 h 620"/>
                    <a:gd name="T28" fmla="*/ 93 w 738"/>
                    <a:gd name="T29" fmla="*/ 481 h 620"/>
                    <a:gd name="T30" fmla="*/ 82 w 738"/>
                    <a:gd name="T31" fmla="*/ 475 h 620"/>
                    <a:gd name="T32" fmla="*/ 64 w 738"/>
                    <a:gd name="T33" fmla="*/ 470 h 620"/>
                    <a:gd name="T34" fmla="*/ 53 w 738"/>
                    <a:gd name="T35" fmla="*/ 470 h 620"/>
                    <a:gd name="T36" fmla="*/ 24 w 738"/>
                    <a:gd name="T37" fmla="*/ 458 h 620"/>
                    <a:gd name="T38" fmla="*/ 12 w 738"/>
                    <a:gd name="T39" fmla="*/ 452 h 620"/>
                    <a:gd name="T40" fmla="*/ 18 w 738"/>
                    <a:gd name="T41" fmla="*/ 377 h 620"/>
                    <a:gd name="T42" fmla="*/ 24 w 738"/>
                    <a:gd name="T43" fmla="*/ 342 h 620"/>
                    <a:gd name="T44" fmla="*/ 53 w 738"/>
                    <a:gd name="T45" fmla="*/ 301 h 620"/>
                    <a:gd name="T46" fmla="*/ 82 w 738"/>
                    <a:gd name="T47" fmla="*/ 255 h 620"/>
                    <a:gd name="T48" fmla="*/ 99 w 738"/>
                    <a:gd name="T49" fmla="*/ 208 h 620"/>
                    <a:gd name="T50" fmla="*/ 146 w 738"/>
                    <a:gd name="T51" fmla="*/ 110 h 620"/>
                    <a:gd name="T52" fmla="*/ 180 w 738"/>
                    <a:gd name="T53" fmla="*/ 11 h 620"/>
                    <a:gd name="T54" fmla="*/ 180 w 738"/>
                    <a:gd name="T55" fmla="*/ 0 h 620"/>
                    <a:gd name="T56" fmla="*/ 198 w 738"/>
                    <a:gd name="T57" fmla="*/ 11 h 620"/>
                    <a:gd name="T58" fmla="*/ 221 w 738"/>
                    <a:gd name="T59" fmla="*/ 11 h 620"/>
                    <a:gd name="T60" fmla="*/ 233 w 738"/>
                    <a:gd name="T61" fmla="*/ 29 h 620"/>
                    <a:gd name="T62" fmla="*/ 250 w 738"/>
                    <a:gd name="T63" fmla="*/ 34 h 620"/>
                    <a:gd name="T64" fmla="*/ 256 w 738"/>
                    <a:gd name="T65" fmla="*/ 69 h 620"/>
                    <a:gd name="T66" fmla="*/ 256 w 738"/>
                    <a:gd name="T67" fmla="*/ 87 h 620"/>
                    <a:gd name="T68" fmla="*/ 273 w 738"/>
                    <a:gd name="T69" fmla="*/ 110 h 620"/>
                    <a:gd name="T70" fmla="*/ 296 w 738"/>
                    <a:gd name="T71" fmla="*/ 116 h 620"/>
                    <a:gd name="T72" fmla="*/ 314 w 738"/>
                    <a:gd name="T73" fmla="*/ 116 h 620"/>
                    <a:gd name="T74" fmla="*/ 331 w 738"/>
                    <a:gd name="T75" fmla="*/ 116 h 620"/>
                    <a:gd name="T76" fmla="*/ 355 w 738"/>
                    <a:gd name="T77" fmla="*/ 121 h 620"/>
                    <a:gd name="T78" fmla="*/ 372 w 738"/>
                    <a:gd name="T79" fmla="*/ 133 h 620"/>
                    <a:gd name="T80" fmla="*/ 401 w 738"/>
                    <a:gd name="T81" fmla="*/ 133 h 620"/>
                    <a:gd name="T82" fmla="*/ 418 w 738"/>
                    <a:gd name="T83" fmla="*/ 133 h 620"/>
                    <a:gd name="T84" fmla="*/ 453 w 738"/>
                    <a:gd name="T85" fmla="*/ 145 h 620"/>
                    <a:gd name="T86" fmla="*/ 476 w 738"/>
                    <a:gd name="T87" fmla="*/ 139 h 620"/>
                    <a:gd name="T88" fmla="*/ 494 w 738"/>
                    <a:gd name="T89" fmla="*/ 139 h 620"/>
                    <a:gd name="T90" fmla="*/ 517 w 738"/>
                    <a:gd name="T91" fmla="*/ 139 h 620"/>
                    <a:gd name="T92" fmla="*/ 540 w 738"/>
                    <a:gd name="T93" fmla="*/ 145 h 620"/>
                    <a:gd name="T94" fmla="*/ 569 w 738"/>
                    <a:gd name="T95" fmla="*/ 145 h 620"/>
                    <a:gd name="T96" fmla="*/ 627 w 738"/>
                    <a:gd name="T97" fmla="*/ 162 h 620"/>
                    <a:gd name="T98" fmla="*/ 651 w 738"/>
                    <a:gd name="T99" fmla="*/ 168 h 620"/>
                    <a:gd name="T100" fmla="*/ 662 w 738"/>
                    <a:gd name="T101" fmla="*/ 168 h 620"/>
                    <a:gd name="T102" fmla="*/ 680 w 738"/>
                    <a:gd name="T103" fmla="*/ 174 h 620"/>
                    <a:gd name="T104" fmla="*/ 714 w 738"/>
                    <a:gd name="T105" fmla="*/ 185 h 620"/>
                    <a:gd name="T106" fmla="*/ 738 w 738"/>
                    <a:gd name="T107" fmla="*/ 214 h 620"/>
                    <a:gd name="T108" fmla="*/ 709 w 738"/>
                    <a:gd name="T109" fmla="*/ 266 h 620"/>
                    <a:gd name="T110" fmla="*/ 697 w 738"/>
                    <a:gd name="T111" fmla="*/ 284 h 620"/>
                    <a:gd name="T112" fmla="*/ 685 w 738"/>
                    <a:gd name="T113" fmla="*/ 313 h 620"/>
                    <a:gd name="T114" fmla="*/ 645 w 738"/>
                    <a:gd name="T115" fmla="*/ 353 h 620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738"/>
                    <a:gd name="T175" fmla="*/ 0 h 620"/>
                    <a:gd name="T176" fmla="*/ 738 w 738"/>
                    <a:gd name="T177" fmla="*/ 620 h 620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738" h="620">
                      <a:moveTo>
                        <a:pt x="645" y="365"/>
                      </a:moveTo>
                      <a:lnTo>
                        <a:pt x="651" y="371"/>
                      </a:lnTo>
                      <a:lnTo>
                        <a:pt x="656" y="377"/>
                      </a:lnTo>
                      <a:lnTo>
                        <a:pt x="662" y="388"/>
                      </a:lnTo>
                      <a:lnTo>
                        <a:pt x="651" y="417"/>
                      </a:lnTo>
                      <a:lnTo>
                        <a:pt x="645" y="423"/>
                      </a:lnTo>
                      <a:lnTo>
                        <a:pt x="639" y="435"/>
                      </a:lnTo>
                      <a:lnTo>
                        <a:pt x="639" y="446"/>
                      </a:lnTo>
                      <a:lnTo>
                        <a:pt x="627" y="493"/>
                      </a:lnTo>
                      <a:lnTo>
                        <a:pt x="598" y="620"/>
                      </a:lnTo>
                      <a:lnTo>
                        <a:pt x="575" y="615"/>
                      </a:lnTo>
                      <a:lnTo>
                        <a:pt x="500" y="597"/>
                      </a:lnTo>
                      <a:lnTo>
                        <a:pt x="476" y="591"/>
                      </a:lnTo>
                      <a:lnTo>
                        <a:pt x="459" y="586"/>
                      </a:lnTo>
                      <a:lnTo>
                        <a:pt x="407" y="574"/>
                      </a:lnTo>
                      <a:lnTo>
                        <a:pt x="401" y="574"/>
                      </a:lnTo>
                      <a:lnTo>
                        <a:pt x="389" y="568"/>
                      </a:lnTo>
                      <a:lnTo>
                        <a:pt x="360" y="562"/>
                      </a:lnTo>
                      <a:lnTo>
                        <a:pt x="349" y="557"/>
                      </a:lnTo>
                      <a:lnTo>
                        <a:pt x="337" y="551"/>
                      </a:lnTo>
                      <a:lnTo>
                        <a:pt x="331" y="551"/>
                      </a:lnTo>
                      <a:lnTo>
                        <a:pt x="279" y="539"/>
                      </a:lnTo>
                      <a:lnTo>
                        <a:pt x="262" y="533"/>
                      </a:lnTo>
                      <a:lnTo>
                        <a:pt x="244" y="528"/>
                      </a:lnTo>
                      <a:lnTo>
                        <a:pt x="233" y="522"/>
                      </a:lnTo>
                      <a:lnTo>
                        <a:pt x="186" y="510"/>
                      </a:lnTo>
                      <a:lnTo>
                        <a:pt x="175" y="504"/>
                      </a:lnTo>
                      <a:lnTo>
                        <a:pt x="163" y="499"/>
                      </a:lnTo>
                      <a:lnTo>
                        <a:pt x="105" y="481"/>
                      </a:lnTo>
                      <a:lnTo>
                        <a:pt x="93" y="481"/>
                      </a:lnTo>
                      <a:lnTo>
                        <a:pt x="88" y="475"/>
                      </a:lnTo>
                      <a:lnTo>
                        <a:pt x="82" y="475"/>
                      </a:lnTo>
                      <a:lnTo>
                        <a:pt x="70" y="470"/>
                      </a:lnTo>
                      <a:lnTo>
                        <a:pt x="64" y="470"/>
                      </a:lnTo>
                      <a:lnTo>
                        <a:pt x="59" y="470"/>
                      </a:lnTo>
                      <a:lnTo>
                        <a:pt x="53" y="470"/>
                      </a:lnTo>
                      <a:lnTo>
                        <a:pt x="41" y="464"/>
                      </a:lnTo>
                      <a:lnTo>
                        <a:pt x="24" y="458"/>
                      </a:lnTo>
                      <a:lnTo>
                        <a:pt x="18" y="452"/>
                      </a:lnTo>
                      <a:lnTo>
                        <a:pt x="12" y="452"/>
                      </a:lnTo>
                      <a:lnTo>
                        <a:pt x="0" y="435"/>
                      </a:lnTo>
                      <a:lnTo>
                        <a:pt x="18" y="377"/>
                      </a:lnTo>
                      <a:lnTo>
                        <a:pt x="12" y="353"/>
                      </a:lnTo>
                      <a:lnTo>
                        <a:pt x="24" y="342"/>
                      </a:lnTo>
                      <a:lnTo>
                        <a:pt x="47" y="301"/>
                      </a:lnTo>
                      <a:lnTo>
                        <a:pt x="53" y="301"/>
                      </a:lnTo>
                      <a:lnTo>
                        <a:pt x="70" y="278"/>
                      </a:lnTo>
                      <a:lnTo>
                        <a:pt x="82" y="255"/>
                      </a:lnTo>
                      <a:lnTo>
                        <a:pt x="82" y="249"/>
                      </a:lnTo>
                      <a:lnTo>
                        <a:pt x="99" y="208"/>
                      </a:lnTo>
                      <a:lnTo>
                        <a:pt x="134" y="127"/>
                      </a:lnTo>
                      <a:lnTo>
                        <a:pt x="146" y="110"/>
                      </a:lnTo>
                      <a:lnTo>
                        <a:pt x="163" y="52"/>
                      </a:lnTo>
                      <a:lnTo>
                        <a:pt x="180" y="11"/>
                      </a:lnTo>
                      <a:lnTo>
                        <a:pt x="175" y="0"/>
                      </a:lnTo>
                      <a:lnTo>
                        <a:pt x="180" y="0"/>
                      </a:lnTo>
                      <a:lnTo>
                        <a:pt x="186" y="11"/>
                      </a:lnTo>
                      <a:lnTo>
                        <a:pt x="198" y="11"/>
                      </a:lnTo>
                      <a:lnTo>
                        <a:pt x="204" y="5"/>
                      </a:lnTo>
                      <a:lnTo>
                        <a:pt x="221" y="11"/>
                      </a:lnTo>
                      <a:lnTo>
                        <a:pt x="227" y="23"/>
                      </a:lnTo>
                      <a:lnTo>
                        <a:pt x="233" y="29"/>
                      </a:lnTo>
                      <a:lnTo>
                        <a:pt x="238" y="29"/>
                      </a:lnTo>
                      <a:lnTo>
                        <a:pt x="250" y="34"/>
                      </a:lnTo>
                      <a:lnTo>
                        <a:pt x="262" y="58"/>
                      </a:lnTo>
                      <a:lnTo>
                        <a:pt x="256" y="69"/>
                      </a:lnTo>
                      <a:lnTo>
                        <a:pt x="256" y="81"/>
                      </a:lnTo>
                      <a:lnTo>
                        <a:pt x="256" y="87"/>
                      </a:lnTo>
                      <a:lnTo>
                        <a:pt x="250" y="92"/>
                      </a:lnTo>
                      <a:lnTo>
                        <a:pt x="273" y="110"/>
                      </a:lnTo>
                      <a:lnTo>
                        <a:pt x="291" y="116"/>
                      </a:lnTo>
                      <a:lnTo>
                        <a:pt x="296" y="116"/>
                      </a:lnTo>
                      <a:lnTo>
                        <a:pt x="302" y="116"/>
                      </a:lnTo>
                      <a:lnTo>
                        <a:pt x="314" y="116"/>
                      </a:lnTo>
                      <a:lnTo>
                        <a:pt x="326" y="110"/>
                      </a:lnTo>
                      <a:lnTo>
                        <a:pt x="331" y="116"/>
                      </a:lnTo>
                      <a:lnTo>
                        <a:pt x="349" y="116"/>
                      </a:lnTo>
                      <a:lnTo>
                        <a:pt x="355" y="121"/>
                      </a:lnTo>
                      <a:lnTo>
                        <a:pt x="372" y="127"/>
                      </a:lnTo>
                      <a:lnTo>
                        <a:pt x="372" y="133"/>
                      </a:lnTo>
                      <a:lnTo>
                        <a:pt x="395" y="139"/>
                      </a:lnTo>
                      <a:lnTo>
                        <a:pt x="401" y="133"/>
                      </a:lnTo>
                      <a:lnTo>
                        <a:pt x="413" y="133"/>
                      </a:lnTo>
                      <a:lnTo>
                        <a:pt x="418" y="133"/>
                      </a:lnTo>
                      <a:lnTo>
                        <a:pt x="430" y="139"/>
                      </a:lnTo>
                      <a:lnTo>
                        <a:pt x="453" y="145"/>
                      </a:lnTo>
                      <a:lnTo>
                        <a:pt x="471" y="139"/>
                      </a:lnTo>
                      <a:lnTo>
                        <a:pt x="476" y="139"/>
                      </a:lnTo>
                      <a:lnTo>
                        <a:pt x="482" y="139"/>
                      </a:lnTo>
                      <a:lnTo>
                        <a:pt x="494" y="139"/>
                      </a:lnTo>
                      <a:lnTo>
                        <a:pt x="505" y="133"/>
                      </a:lnTo>
                      <a:lnTo>
                        <a:pt x="517" y="139"/>
                      </a:lnTo>
                      <a:lnTo>
                        <a:pt x="529" y="139"/>
                      </a:lnTo>
                      <a:lnTo>
                        <a:pt x="540" y="145"/>
                      </a:lnTo>
                      <a:lnTo>
                        <a:pt x="552" y="139"/>
                      </a:lnTo>
                      <a:lnTo>
                        <a:pt x="569" y="145"/>
                      </a:lnTo>
                      <a:lnTo>
                        <a:pt x="610" y="156"/>
                      </a:lnTo>
                      <a:lnTo>
                        <a:pt x="627" y="162"/>
                      </a:lnTo>
                      <a:lnTo>
                        <a:pt x="633" y="162"/>
                      </a:lnTo>
                      <a:lnTo>
                        <a:pt x="651" y="168"/>
                      </a:lnTo>
                      <a:lnTo>
                        <a:pt x="656" y="168"/>
                      </a:lnTo>
                      <a:lnTo>
                        <a:pt x="662" y="168"/>
                      </a:lnTo>
                      <a:lnTo>
                        <a:pt x="668" y="168"/>
                      </a:lnTo>
                      <a:lnTo>
                        <a:pt x="680" y="174"/>
                      </a:lnTo>
                      <a:lnTo>
                        <a:pt x="714" y="179"/>
                      </a:lnTo>
                      <a:lnTo>
                        <a:pt x="714" y="185"/>
                      </a:lnTo>
                      <a:lnTo>
                        <a:pt x="720" y="197"/>
                      </a:lnTo>
                      <a:lnTo>
                        <a:pt x="738" y="214"/>
                      </a:lnTo>
                      <a:lnTo>
                        <a:pt x="738" y="232"/>
                      </a:lnTo>
                      <a:lnTo>
                        <a:pt x="709" y="266"/>
                      </a:lnTo>
                      <a:lnTo>
                        <a:pt x="703" y="284"/>
                      </a:lnTo>
                      <a:lnTo>
                        <a:pt x="697" y="284"/>
                      </a:lnTo>
                      <a:lnTo>
                        <a:pt x="691" y="295"/>
                      </a:lnTo>
                      <a:lnTo>
                        <a:pt x="685" y="313"/>
                      </a:lnTo>
                      <a:lnTo>
                        <a:pt x="668" y="319"/>
                      </a:lnTo>
                      <a:lnTo>
                        <a:pt x="645" y="353"/>
                      </a:lnTo>
                      <a:lnTo>
                        <a:pt x="645" y="365"/>
                      </a:lnTo>
                      <a:close/>
                    </a:path>
                  </a:pathLst>
                </a:custGeom>
                <a:solidFill>
                  <a:srgbClr val="5B9BD5">
                    <a:lumMod val="40000"/>
                    <a:lumOff val="6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68" name="Freeform 67"/>
                <p:cNvSpPr>
                  <a:spLocks/>
                </p:cNvSpPr>
                <p:nvPr/>
              </p:nvSpPr>
              <p:spPr bwMode="auto">
                <a:xfrm>
                  <a:off x="780065" y="1676363"/>
                  <a:ext cx="820736" cy="1012553"/>
                </a:xfrm>
                <a:custGeom>
                  <a:avLst/>
                  <a:gdLst>
                    <a:gd name="T0" fmla="*/ 17 w 517"/>
                    <a:gd name="T1" fmla="*/ 470 h 638"/>
                    <a:gd name="T2" fmla="*/ 12 w 517"/>
                    <a:gd name="T3" fmla="*/ 511 h 638"/>
                    <a:gd name="T4" fmla="*/ 0 w 517"/>
                    <a:gd name="T5" fmla="*/ 557 h 638"/>
                    <a:gd name="T6" fmla="*/ 58 w 517"/>
                    <a:gd name="T7" fmla="*/ 569 h 638"/>
                    <a:gd name="T8" fmla="*/ 116 w 517"/>
                    <a:gd name="T9" fmla="*/ 580 h 638"/>
                    <a:gd name="T10" fmla="*/ 203 w 517"/>
                    <a:gd name="T11" fmla="*/ 598 h 638"/>
                    <a:gd name="T12" fmla="*/ 238 w 517"/>
                    <a:gd name="T13" fmla="*/ 604 h 638"/>
                    <a:gd name="T14" fmla="*/ 273 w 517"/>
                    <a:gd name="T15" fmla="*/ 609 h 638"/>
                    <a:gd name="T16" fmla="*/ 319 w 517"/>
                    <a:gd name="T17" fmla="*/ 615 h 638"/>
                    <a:gd name="T18" fmla="*/ 395 w 517"/>
                    <a:gd name="T19" fmla="*/ 633 h 638"/>
                    <a:gd name="T20" fmla="*/ 447 w 517"/>
                    <a:gd name="T21" fmla="*/ 638 h 638"/>
                    <a:gd name="T22" fmla="*/ 458 w 517"/>
                    <a:gd name="T23" fmla="*/ 580 h 638"/>
                    <a:gd name="T24" fmla="*/ 464 w 517"/>
                    <a:gd name="T25" fmla="*/ 540 h 638"/>
                    <a:gd name="T26" fmla="*/ 470 w 517"/>
                    <a:gd name="T27" fmla="*/ 505 h 638"/>
                    <a:gd name="T28" fmla="*/ 476 w 517"/>
                    <a:gd name="T29" fmla="*/ 470 h 638"/>
                    <a:gd name="T30" fmla="*/ 482 w 517"/>
                    <a:gd name="T31" fmla="*/ 412 h 638"/>
                    <a:gd name="T32" fmla="*/ 493 w 517"/>
                    <a:gd name="T33" fmla="*/ 354 h 638"/>
                    <a:gd name="T34" fmla="*/ 493 w 517"/>
                    <a:gd name="T35" fmla="*/ 337 h 638"/>
                    <a:gd name="T36" fmla="*/ 499 w 517"/>
                    <a:gd name="T37" fmla="*/ 302 h 638"/>
                    <a:gd name="T38" fmla="*/ 505 w 517"/>
                    <a:gd name="T39" fmla="*/ 250 h 638"/>
                    <a:gd name="T40" fmla="*/ 511 w 517"/>
                    <a:gd name="T41" fmla="*/ 227 h 638"/>
                    <a:gd name="T42" fmla="*/ 517 w 517"/>
                    <a:gd name="T43" fmla="*/ 203 h 638"/>
                    <a:gd name="T44" fmla="*/ 476 w 517"/>
                    <a:gd name="T45" fmla="*/ 180 h 638"/>
                    <a:gd name="T46" fmla="*/ 429 w 517"/>
                    <a:gd name="T47" fmla="*/ 174 h 638"/>
                    <a:gd name="T48" fmla="*/ 348 w 517"/>
                    <a:gd name="T49" fmla="*/ 163 h 638"/>
                    <a:gd name="T50" fmla="*/ 354 w 517"/>
                    <a:gd name="T51" fmla="*/ 111 h 638"/>
                    <a:gd name="T52" fmla="*/ 360 w 517"/>
                    <a:gd name="T53" fmla="*/ 93 h 638"/>
                    <a:gd name="T54" fmla="*/ 366 w 517"/>
                    <a:gd name="T55" fmla="*/ 64 h 638"/>
                    <a:gd name="T56" fmla="*/ 337 w 517"/>
                    <a:gd name="T57" fmla="*/ 41 h 638"/>
                    <a:gd name="T58" fmla="*/ 325 w 517"/>
                    <a:gd name="T59" fmla="*/ 41 h 638"/>
                    <a:gd name="T60" fmla="*/ 284 w 517"/>
                    <a:gd name="T61" fmla="*/ 35 h 638"/>
                    <a:gd name="T62" fmla="*/ 273 w 517"/>
                    <a:gd name="T63" fmla="*/ 29 h 638"/>
                    <a:gd name="T64" fmla="*/ 180 w 517"/>
                    <a:gd name="T65" fmla="*/ 12 h 638"/>
                    <a:gd name="T66" fmla="*/ 116 w 517"/>
                    <a:gd name="T67" fmla="*/ 0 h 638"/>
                    <a:gd name="T68" fmla="*/ 99 w 517"/>
                    <a:gd name="T69" fmla="*/ 76 h 638"/>
                    <a:gd name="T70" fmla="*/ 87 w 517"/>
                    <a:gd name="T71" fmla="*/ 151 h 638"/>
                    <a:gd name="T72" fmla="*/ 70 w 517"/>
                    <a:gd name="T73" fmla="*/ 209 h 638"/>
                    <a:gd name="T74" fmla="*/ 70 w 517"/>
                    <a:gd name="T75" fmla="*/ 232 h 638"/>
                    <a:gd name="T76" fmla="*/ 58 w 517"/>
                    <a:gd name="T77" fmla="*/ 273 h 638"/>
                    <a:gd name="T78" fmla="*/ 41 w 517"/>
                    <a:gd name="T79" fmla="*/ 348 h 638"/>
                    <a:gd name="T80" fmla="*/ 35 w 517"/>
                    <a:gd name="T81" fmla="*/ 377 h 638"/>
                    <a:gd name="T82" fmla="*/ 35 w 517"/>
                    <a:gd name="T83" fmla="*/ 389 h 638"/>
                    <a:gd name="T84" fmla="*/ 23 w 517"/>
                    <a:gd name="T85" fmla="*/ 430 h 63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517"/>
                    <a:gd name="T130" fmla="*/ 0 h 638"/>
                    <a:gd name="T131" fmla="*/ 517 w 517"/>
                    <a:gd name="T132" fmla="*/ 638 h 63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517" h="638">
                      <a:moveTo>
                        <a:pt x="23" y="430"/>
                      </a:moveTo>
                      <a:lnTo>
                        <a:pt x="17" y="470"/>
                      </a:lnTo>
                      <a:lnTo>
                        <a:pt x="12" y="488"/>
                      </a:lnTo>
                      <a:lnTo>
                        <a:pt x="12" y="511"/>
                      </a:lnTo>
                      <a:lnTo>
                        <a:pt x="0" y="546"/>
                      </a:lnTo>
                      <a:lnTo>
                        <a:pt x="0" y="557"/>
                      </a:lnTo>
                      <a:lnTo>
                        <a:pt x="29" y="563"/>
                      </a:lnTo>
                      <a:lnTo>
                        <a:pt x="58" y="569"/>
                      </a:lnTo>
                      <a:lnTo>
                        <a:pt x="104" y="580"/>
                      </a:lnTo>
                      <a:lnTo>
                        <a:pt x="116" y="580"/>
                      </a:lnTo>
                      <a:lnTo>
                        <a:pt x="133" y="586"/>
                      </a:lnTo>
                      <a:lnTo>
                        <a:pt x="203" y="598"/>
                      </a:lnTo>
                      <a:lnTo>
                        <a:pt x="226" y="604"/>
                      </a:lnTo>
                      <a:lnTo>
                        <a:pt x="238" y="604"/>
                      </a:lnTo>
                      <a:lnTo>
                        <a:pt x="250" y="604"/>
                      </a:lnTo>
                      <a:lnTo>
                        <a:pt x="273" y="609"/>
                      </a:lnTo>
                      <a:lnTo>
                        <a:pt x="296" y="615"/>
                      </a:lnTo>
                      <a:lnTo>
                        <a:pt x="319" y="615"/>
                      </a:lnTo>
                      <a:lnTo>
                        <a:pt x="366" y="627"/>
                      </a:lnTo>
                      <a:lnTo>
                        <a:pt x="395" y="633"/>
                      </a:lnTo>
                      <a:lnTo>
                        <a:pt x="406" y="633"/>
                      </a:lnTo>
                      <a:lnTo>
                        <a:pt x="447" y="638"/>
                      </a:lnTo>
                      <a:lnTo>
                        <a:pt x="458" y="586"/>
                      </a:lnTo>
                      <a:lnTo>
                        <a:pt x="458" y="580"/>
                      </a:lnTo>
                      <a:lnTo>
                        <a:pt x="464" y="551"/>
                      </a:lnTo>
                      <a:lnTo>
                        <a:pt x="464" y="540"/>
                      </a:lnTo>
                      <a:lnTo>
                        <a:pt x="464" y="522"/>
                      </a:lnTo>
                      <a:lnTo>
                        <a:pt x="470" y="505"/>
                      </a:lnTo>
                      <a:lnTo>
                        <a:pt x="470" y="493"/>
                      </a:lnTo>
                      <a:lnTo>
                        <a:pt x="476" y="470"/>
                      </a:lnTo>
                      <a:lnTo>
                        <a:pt x="476" y="441"/>
                      </a:lnTo>
                      <a:lnTo>
                        <a:pt x="482" y="412"/>
                      </a:lnTo>
                      <a:lnTo>
                        <a:pt x="487" y="372"/>
                      </a:lnTo>
                      <a:lnTo>
                        <a:pt x="493" y="354"/>
                      </a:lnTo>
                      <a:lnTo>
                        <a:pt x="493" y="343"/>
                      </a:lnTo>
                      <a:lnTo>
                        <a:pt x="493" y="337"/>
                      </a:lnTo>
                      <a:lnTo>
                        <a:pt x="499" y="314"/>
                      </a:lnTo>
                      <a:lnTo>
                        <a:pt x="499" y="302"/>
                      </a:lnTo>
                      <a:lnTo>
                        <a:pt x="505" y="273"/>
                      </a:lnTo>
                      <a:lnTo>
                        <a:pt x="505" y="250"/>
                      </a:lnTo>
                      <a:lnTo>
                        <a:pt x="511" y="232"/>
                      </a:lnTo>
                      <a:lnTo>
                        <a:pt x="511" y="227"/>
                      </a:lnTo>
                      <a:lnTo>
                        <a:pt x="511" y="215"/>
                      </a:lnTo>
                      <a:lnTo>
                        <a:pt x="517" y="203"/>
                      </a:lnTo>
                      <a:lnTo>
                        <a:pt x="517" y="186"/>
                      </a:lnTo>
                      <a:lnTo>
                        <a:pt x="476" y="180"/>
                      </a:lnTo>
                      <a:lnTo>
                        <a:pt x="435" y="174"/>
                      </a:lnTo>
                      <a:lnTo>
                        <a:pt x="429" y="174"/>
                      </a:lnTo>
                      <a:lnTo>
                        <a:pt x="412" y="174"/>
                      </a:lnTo>
                      <a:lnTo>
                        <a:pt x="348" y="163"/>
                      </a:lnTo>
                      <a:lnTo>
                        <a:pt x="354" y="134"/>
                      </a:lnTo>
                      <a:lnTo>
                        <a:pt x="354" y="111"/>
                      </a:lnTo>
                      <a:lnTo>
                        <a:pt x="354" y="105"/>
                      </a:lnTo>
                      <a:lnTo>
                        <a:pt x="360" y="93"/>
                      </a:lnTo>
                      <a:lnTo>
                        <a:pt x="360" y="76"/>
                      </a:lnTo>
                      <a:lnTo>
                        <a:pt x="366" y="64"/>
                      </a:lnTo>
                      <a:lnTo>
                        <a:pt x="366" y="47"/>
                      </a:lnTo>
                      <a:lnTo>
                        <a:pt x="337" y="41"/>
                      </a:lnTo>
                      <a:lnTo>
                        <a:pt x="331" y="41"/>
                      </a:lnTo>
                      <a:lnTo>
                        <a:pt x="325" y="41"/>
                      </a:lnTo>
                      <a:lnTo>
                        <a:pt x="308" y="35"/>
                      </a:lnTo>
                      <a:lnTo>
                        <a:pt x="284" y="35"/>
                      </a:lnTo>
                      <a:lnTo>
                        <a:pt x="279" y="29"/>
                      </a:lnTo>
                      <a:lnTo>
                        <a:pt x="273" y="29"/>
                      </a:lnTo>
                      <a:lnTo>
                        <a:pt x="203" y="18"/>
                      </a:lnTo>
                      <a:lnTo>
                        <a:pt x="180" y="12"/>
                      </a:lnTo>
                      <a:lnTo>
                        <a:pt x="139" y="6"/>
                      </a:lnTo>
                      <a:lnTo>
                        <a:pt x="116" y="0"/>
                      </a:lnTo>
                      <a:lnTo>
                        <a:pt x="116" y="12"/>
                      </a:lnTo>
                      <a:lnTo>
                        <a:pt x="99" y="76"/>
                      </a:lnTo>
                      <a:lnTo>
                        <a:pt x="93" y="111"/>
                      </a:lnTo>
                      <a:lnTo>
                        <a:pt x="87" y="151"/>
                      </a:lnTo>
                      <a:lnTo>
                        <a:pt x="75" y="186"/>
                      </a:lnTo>
                      <a:lnTo>
                        <a:pt x="70" y="209"/>
                      </a:lnTo>
                      <a:lnTo>
                        <a:pt x="70" y="221"/>
                      </a:lnTo>
                      <a:lnTo>
                        <a:pt x="70" y="232"/>
                      </a:lnTo>
                      <a:lnTo>
                        <a:pt x="64" y="250"/>
                      </a:lnTo>
                      <a:lnTo>
                        <a:pt x="58" y="273"/>
                      </a:lnTo>
                      <a:lnTo>
                        <a:pt x="58" y="279"/>
                      </a:lnTo>
                      <a:lnTo>
                        <a:pt x="41" y="348"/>
                      </a:lnTo>
                      <a:lnTo>
                        <a:pt x="41" y="372"/>
                      </a:lnTo>
                      <a:lnTo>
                        <a:pt x="35" y="377"/>
                      </a:lnTo>
                      <a:lnTo>
                        <a:pt x="35" y="383"/>
                      </a:lnTo>
                      <a:lnTo>
                        <a:pt x="35" y="389"/>
                      </a:lnTo>
                      <a:lnTo>
                        <a:pt x="29" y="412"/>
                      </a:lnTo>
                      <a:lnTo>
                        <a:pt x="23" y="430"/>
                      </a:lnTo>
                      <a:close/>
                    </a:path>
                  </a:pathLst>
                </a:custGeom>
                <a:solidFill>
                  <a:srgbClr val="E7E6E6">
                    <a:lumMod val="9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69" name="Freeform 68"/>
                <p:cNvSpPr>
                  <a:spLocks/>
                </p:cNvSpPr>
                <p:nvPr/>
              </p:nvSpPr>
              <p:spPr bwMode="auto">
                <a:xfrm>
                  <a:off x="54671" y="-5489"/>
                  <a:ext cx="1026044" cy="717357"/>
                </a:xfrm>
                <a:custGeom>
                  <a:avLst/>
                  <a:gdLst>
                    <a:gd name="T0" fmla="*/ 539 w 609"/>
                    <a:gd name="T1" fmla="*/ 423 h 452"/>
                    <a:gd name="T2" fmla="*/ 493 w 609"/>
                    <a:gd name="T3" fmla="*/ 441 h 452"/>
                    <a:gd name="T4" fmla="*/ 476 w 609"/>
                    <a:gd name="T5" fmla="*/ 441 h 452"/>
                    <a:gd name="T6" fmla="*/ 435 w 609"/>
                    <a:gd name="T7" fmla="*/ 429 h 452"/>
                    <a:gd name="T8" fmla="*/ 365 w 609"/>
                    <a:gd name="T9" fmla="*/ 418 h 452"/>
                    <a:gd name="T10" fmla="*/ 330 w 609"/>
                    <a:gd name="T11" fmla="*/ 406 h 452"/>
                    <a:gd name="T12" fmla="*/ 301 w 609"/>
                    <a:gd name="T13" fmla="*/ 412 h 452"/>
                    <a:gd name="T14" fmla="*/ 255 w 609"/>
                    <a:gd name="T15" fmla="*/ 412 h 452"/>
                    <a:gd name="T16" fmla="*/ 226 w 609"/>
                    <a:gd name="T17" fmla="*/ 406 h 452"/>
                    <a:gd name="T18" fmla="*/ 197 w 609"/>
                    <a:gd name="T19" fmla="*/ 400 h 452"/>
                    <a:gd name="T20" fmla="*/ 156 w 609"/>
                    <a:gd name="T21" fmla="*/ 389 h 452"/>
                    <a:gd name="T22" fmla="*/ 127 w 609"/>
                    <a:gd name="T23" fmla="*/ 389 h 452"/>
                    <a:gd name="T24" fmla="*/ 98 w 609"/>
                    <a:gd name="T25" fmla="*/ 383 h 452"/>
                    <a:gd name="T26" fmla="*/ 81 w 609"/>
                    <a:gd name="T27" fmla="*/ 354 h 452"/>
                    <a:gd name="T28" fmla="*/ 75 w 609"/>
                    <a:gd name="T29" fmla="*/ 307 h 452"/>
                    <a:gd name="T30" fmla="*/ 52 w 609"/>
                    <a:gd name="T31" fmla="*/ 296 h 452"/>
                    <a:gd name="T32" fmla="*/ 29 w 609"/>
                    <a:gd name="T33" fmla="*/ 273 h 452"/>
                    <a:gd name="T34" fmla="*/ 5 w 609"/>
                    <a:gd name="T35" fmla="*/ 261 h 452"/>
                    <a:gd name="T36" fmla="*/ 17 w 609"/>
                    <a:gd name="T37" fmla="*/ 226 h 452"/>
                    <a:gd name="T38" fmla="*/ 23 w 609"/>
                    <a:gd name="T39" fmla="*/ 244 h 452"/>
                    <a:gd name="T40" fmla="*/ 29 w 609"/>
                    <a:gd name="T41" fmla="*/ 220 h 452"/>
                    <a:gd name="T42" fmla="*/ 17 w 609"/>
                    <a:gd name="T43" fmla="*/ 209 h 452"/>
                    <a:gd name="T44" fmla="*/ 40 w 609"/>
                    <a:gd name="T45" fmla="*/ 197 h 452"/>
                    <a:gd name="T46" fmla="*/ 23 w 609"/>
                    <a:gd name="T47" fmla="*/ 191 h 452"/>
                    <a:gd name="T48" fmla="*/ 23 w 609"/>
                    <a:gd name="T49" fmla="*/ 151 h 452"/>
                    <a:gd name="T50" fmla="*/ 23 w 609"/>
                    <a:gd name="T51" fmla="*/ 93 h 452"/>
                    <a:gd name="T52" fmla="*/ 17 w 609"/>
                    <a:gd name="T53" fmla="*/ 58 h 452"/>
                    <a:gd name="T54" fmla="*/ 29 w 609"/>
                    <a:gd name="T55" fmla="*/ 17 h 452"/>
                    <a:gd name="T56" fmla="*/ 116 w 609"/>
                    <a:gd name="T57" fmla="*/ 81 h 452"/>
                    <a:gd name="T58" fmla="*/ 156 w 609"/>
                    <a:gd name="T59" fmla="*/ 104 h 452"/>
                    <a:gd name="T60" fmla="*/ 156 w 609"/>
                    <a:gd name="T61" fmla="*/ 99 h 452"/>
                    <a:gd name="T62" fmla="*/ 151 w 609"/>
                    <a:gd name="T63" fmla="*/ 133 h 452"/>
                    <a:gd name="T64" fmla="*/ 174 w 609"/>
                    <a:gd name="T65" fmla="*/ 128 h 452"/>
                    <a:gd name="T66" fmla="*/ 162 w 609"/>
                    <a:gd name="T67" fmla="*/ 180 h 452"/>
                    <a:gd name="T68" fmla="*/ 151 w 609"/>
                    <a:gd name="T69" fmla="*/ 186 h 452"/>
                    <a:gd name="T70" fmla="*/ 168 w 609"/>
                    <a:gd name="T71" fmla="*/ 191 h 452"/>
                    <a:gd name="T72" fmla="*/ 191 w 609"/>
                    <a:gd name="T73" fmla="*/ 128 h 452"/>
                    <a:gd name="T74" fmla="*/ 191 w 609"/>
                    <a:gd name="T75" fmla="*/ 104 h 452"/>
                    <a:gd name="T76" fmla="*/ 191 w 609"/>
                    <a:gd name="T77" fmla="*/ 110 h 452"/>
                    <a:gd name="T78" fmla="*/ 185 w 609"/>
                    <a:gd name="T79" fmla="*/ 87 h 452"/>
                    <a:gd name="T80" fmla="*/ 191 w 609"/>
                    <a:gd name="T81" fmla="*/ 75 h 452"/>
                    <a:gd name="T82" fmla="*/ 174 w 609"/>
                    <a:gd name="T83" fmla="*/ 110 h 452"/>
                    <a:gd name="T84" fmla="*/ 191 w 609"/>
                    <a:gd name="T85" fmla="*/ 116 h 452"/>
                    <a:gd name="T86" fmla="*/ 174 w 609"/>
                    <a:gd name="T87" fmla="*/ 110 h 452"/>
                    <a:gd name="T88" fmla="*/ 180 w 609"/>
                    <a:gd name="T89" fmla="*/ 70 h 452"/>
                    <a:gd name="T90" fmla="*/ 203 w 609"/>
                    <a:gd name="T91" fmla="*/ 46 h 452"/>
                    <a:gd name="T92" fmla="*/ 191 w 609"/>
                    <a:gd name="T93" fmla="*/ 41 h 452"/>
                    <a:gd name="T94" fmla="*/ 330 w 609"/>
                    <a:gd name="T95" fmla="*/ 41 h 452"/>
                    <a:gd name="T96" fmla="*/ 580 w 609"/>
                    <a:gd name="T97" fmla="*/ 110 h 452"/>
                    <a:gd name="T98" fmla="*/ 609 w 609"/>
                    <a:gd name="T99" fmla="*/ 128 h 452"/>
                    <a:gd name="T100" fmla="*/ 586 w 609"/>
                    <a:gd name="T101" fmla="*/ 215 h 452"/>
                    <a:gd name="T102" fmla="*/ 580 w 609"/>
                    <a:gd name="T103" fmla="*/ 232 h 452"/>
                    <a:gd name="T104" fmla="*/ 568 w 609"/>
                    <a:gd name="T105" fmla="*/ 302 h 452"/>
                    <a:gd name="T106" fmla="*/ 551 w 609"/>
                    <a:gd name="T107" fmla="*/ 371 h 452"/>
                    <a:gd name="T108" fmla="*/ 539 w 609"/>
                    <a:gd name="T109" fmla="*/ 394 h 452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09"/>
                    <a:gd name="T166" fmla="*/ 0 h 452"/>
                    <a:gd name="T167" fmla="*/ 609 w 609"/>
                    <a:gd name="T168" fmla="*/ 452 h 452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09" h="452">
                      <a:moveTo>
                        <a:pt x="539" y="406"/>
                      </a:moveTo>
                      <a:lnTo>
                        <a:pt x="539" y="412"/>
                      </a:lnTo>
                      <a:lnTo>
                        <a:pt x="539" y="423"/>
                      </a:lnTo>
                      <a:lnTo>
                        <a:pt x="539" y="452"/>
                      </a:lnTo>
                      <a:lnTo>
                        <a:pt x="505" y="447"/>
                      </a:lnTo>
                      <a:lnTo>
                        <a:pt x="493" y="441"/>
                      </a:lnTo>
                      <a:lnTo>
                        <a:pt x="487" y="441"/>
                      </a:lnTo>
                      <a:lnTo>
                        <a:pt x="481" y="441"/>
                      </a:lnTo>
                      <a:lnTo>
                        <a:pt x="476" y="441"/>
                      </a:lnTo>
                      <a:lnTo>
                        <a:pt x="458" y="435"/>
                      </a:lnTo>
                      <a:lnTo>
                        <a:pt x="452" y="435"/>
                      </a:lnTo>
                      <a:lnTo>
                        <a:pt x="435" y="429"/>
                      </a:lnTo>
                      <a:lnTo>
                        <a:pt x="394" y="418"/>
                      </a:lnTo>
                      <a:lnTo>
                        <a:pt x="377" y="412"/>
                      </a:lnTo>
                      <a:lnTo>
                        <a:pt x="365" y="418"/>
                      </a:lnTo>
                      <a:lnTo>
                        <a:pt x="354" y="412"/>
                      </a:lnTo>
                      <a:lnTo>
                        <a:pt x="342" y="412"/>
                      </a:lnTo>
                      <a:lnTo>
                        <a:pt x="330" y="406"/>
                      </a:lnTo>
                      <a:lnTo>
                        <a:pt x="319" y="412"/>
                      </a:lnTo>
                      <a:lnTo>
                        <a:pt x="307" y="412"/>
                      </a:lnTo>
                      <a:lnTo>
                        <a:pt x="301" y="412"/>
                      </a:lnTo>
                      <a:lnTo>
                        <a:pt x="296" y="412"/>
                      </a:lnTo>
                      <a:lnTo>
                        <a:pt x="278" y="418"/>
                      </a:lnTo>
                      <a:lnTo>
                        <a:pt x="255" y="412"/>
                      </a:lnTo>
                      <a:lnTo>
                        <a:pt x="243" y="406"/>
                      </a:lnTo>
                      <a:lnTo>
                        <a:pt x="238" y="406"/>
                      </a:lnTo>
                      <a:lnTo>
                        <a:pt x="226" y="406"/>
                      </a:lnTo>
                      <a:lnTo>
                        <a:pt x="220" y="412"/>
                      </a:lnTo>
                      <a:lnTo>
                        <a:pt x="197" y="406"/>
                      </a:lnTo>
                      <a:lnTo>
                        <a:pt x="197" y="400"/>
                      </a:lnTo>
                      <a:lnTo>
                        <a:pt x="180" y="394"/>
                      </a:lnTo>
                      <a:lnTo>
                        <a:pt x="174" y="389"/>
                      </a:lnTo>
                      <a:lnTo>
                        <a:pt x="156" y="389"/>
                      </a:lnTo>
                      <a:lnTo>
                        <a:pt x="151" y="383"/>
                      </a:lnTo>
                      <a:lnTo>
                        <a:pt x="139" y="389"/>
                      </a:lnTo>
                      <a:lnTo>
                        <a:pt x="127" y="389"/>
                      </a:lnTo>
                      <a:lnTo>
                        <a:pt x="121" y="389"/>
                      </a:lnTo>
                      <a:lnTo>
                        <a:pt x="116" y="389"/>
                      </a:lnTo>
                      <a:lnTo>
                        <a:pt x="98" y="383"/>
                      </a:lnTo>
                      <a:lnTo>
                        <a:pt x="75" y="365"/>
                      </a:lnTo>
                      <a:lnTo>
                        <a:pt x="81" y="360"/>
                      </a:lnTo>
                      <a:lnTo>
                        <a:pt x="81" y="354"/>
                      </a:lnTo>
                      <a:lnTo>
                        <a:pt x="81" y="342"/>
                      </a:lnTo>
                      <a:lnTo>
                        <a:pt x="87" y="331"/>
                      </a:lnTo>
                      <a:lnTo>
                        <a:pt x="75" y="307"/>
                      </a:lnTo>
                      <a:lnTo>
                        <a:pt x="63" y="302"/>
                      </a:lnTo>
                      <a:lnTo>
                        <a:pt x="58" y="302"/>
                      </a:lnTo>
                      <a:lnTo>
                        <a:pt x="52" y="296"/>
                      </a:lnTo>
                      <a:lnTo>
                        <a:pt x="46" y="284"/>
                      </a:lnTo>
                      <a:lnTo>
                        <a:pt x="29" y="278"/>
                      </a:lnTo>
                      <a:lnTo>
                        <a:pt x="29" y="273"/>
                      </a:lnTo>
                      <a:lnTo>
                        <a:pt x="11" y="273"/>
                      </a:lnTo>
                      <a:lnTo>
                        <a:pt x="5" y="267"/>
                      </a:lnTo>
                      <a:lnTo>
                        <a:pt x="5" y="261"/>
                      </a:lnTo>
                      <a:lnTo>
                        <a:pt x="5" y="267"/>
                      </a:lnTo>
                      <a:lnTo>
                        <a:pt x="0" y="267"/>
                      </a:lnTo>
                      <a:lnTo>
                        <a:pt x="17" y="226"/>
                      </a:lnTo>
                      <a:lnTo>
                        <a:pt x="11" y="249"/>
                      </a:lnTo>
                      <a:lnTo>
                        <a:pt x="17" y="244"/>
                      </a:lnTo>
                      <a:lnTo>
                        <a:pt x="23" y="244"/>
                      </a:lnTo>
                      <a:lnTo>
                        <a:pt x="23" y="232"/>
                      </a:lnTo>
                      <a:lnTo>
                        <a:pt x="29" y="226"/>
                      </a:lnTo>
                      <a:lnTo>
                        <a:pt x="29" y="220"/>
                      </a:lnTo>
                      <a:lnTo>
                        <a:pt x="23" y="220"/>
                      </a:lnTo>
                      <a:lnTo>
                        <a:pt x="17" y="215"/>
                      </a:lnTo>
                      <a:lnTo>
                        <a:pt x="17" y="209"/>
                      </a:lnTo>
                      <a:lnTo>
                        <a:pt x="17" y="197"/>
                      </a:lnTo>
                      <a:lnTo>
                        <a:pt x="23" y="203"/>
                      </a:lnTo>
                      <a:lnTo>
                        <a:pt x="40" y="197"/>
                      </a:lnTo>
                      <a:lnTo>
                        <a:pt x="29" y="191"/>
                      </a:lnTo>
                      <a:lnTo>
                        <a:pt x="23" y="180"/>
                      </a:lnTo>
                      <a:lnTo>
                        <a:pt x="23" y="191"/>
                      </a:lnTo>
                      <a:lnTo>
                        <a:pt x="17" y="191"/>
                      </a:lnTo>
                      <a:lnTo>
                        <a:pt x="23" y="162"/>
                      </a:lnTo>
                      <a:lnTo>
                        <a:pt x="23" y="151"/>
                      </a:lnTo>
                      <a:lnTo>
                        <a:pt x="23" y="145"/>
                      </a:lnTo>
                      <a:lnTo>
                        <a:pt x="23" y="122"/>
                      </a:lnTo>
                      <a:lnTo>
                        <a:pt x="23" y="93"/>
                      </a:lnTo>
                      <a:lnTo>
                        <a:pt x="17" y="75"/>
                      </a:lnTo>
                      <a:lnTo>
                        <a:pt x="17" y="64"/>
                      </a:lnTo>
                      <a:lnTo>
                        <a:pt x="17" y="58"/>
                      </a:lnTo>
                      <a:lnTo>
                        <a:pt x="17" y="46"/>
                      </a:lnTo>
                      <a:lnTo>
                        <a:pt x="29" y="29"/>
                      </a:lnTo>
                      <a:lnTo>
                        <a:pt x="29" y="17"/>
                      </a:lnTo>
                      <a:lnTo>
                        <a:pt x="34" y="23"/>
                      </a:lnTo>
                      <a:lnTo>
                        <a:pt x="75" y="64"/>
                      </a:lnTo>
                      <a:lnTo>
                        <a:pt x="116" y="81"/>
                      </a:lnTo>
                      <a:lnTo>
                        <a:pt x="139" y="87"/>
                      </a:lnTo>
                      <a:lnTo>
                        <a:pt x="151" y="99"/>
                      </a:lnTo>
                      <a:lnTo>
                        <a:pt x="156" y="104"/>
                      </a:lnTo>
                      <a:lnTo>
                        <a:pt x="156" y="93"/>
                      </a:lnTo>
                      <a:lnTo>
                        <a:pt x="162" y="99"/>
                      </a:lnTo>
                      <a:lnTo>
                        <a:pt x="156" y="99"/>
                      </a:lnTo>
                      <a:lnTo>
                        <a:pt x="162" y="104"/>
                      </a:lnTo>
                      <a:lnTo>
                        <a:pt x="162" y="128"/>
                      </a:lnTo>
                      <a:lnTo>
                        <a:pt x="151" y="133"/>
                      </a:lnTo>
                      <a:lnTo>
                        <a:pt x="151" y="139"/>
                      </a:lnTo>
                      <a:lnTo>
                        <a:pt x="168" y="128"/>
                      </a:lnTo>
                      <a:lnTo>
                        <a:pt x="174" y="128"/>
                      </a:lnTo>
                      <a:lnTo>
                        <a:pt x="168" y="145"/>
                      </a:lnTo>
                      <a:lnTo>
                        <a:pt x="162" y="168"/>
                      </a:lnTo>
                      <a:lnTo>
                        <a:pt x="162" y="180"/>
                      </a:lnTo>
                      <a:lnTo>
                        <a:pt x="168" y="186"/>
                      </a:lnTo>
                      <a:lnTo>
                        <a:pt x="156" y="191"/>
                      </a:lnTo>
                      <a:lnTo>
                        <a:pt x="151" y="186"/>
                      </a:lnTo>
                      <a:lnTo>
                        <a:pt x="156" y="191"/>
                      </a:lnTo>
                      <a:lnTo>
                        <a:pt x="162" y="191"/>
                      </a:lnTo>
                      <a:lnTo>
                        <a:pt x="168" y="191"/>
                      </a:lnTo>
                      <a:lnTo>
                        <a:pt x="168" y="180"/>
                      </a:lnTo>
                      <a:lnTo>
                        <a:pt x="180" y="145"/>
                      </a:lnTo>
                      <a:lnTo>
                        <a:pt x="191" y="128"/>
                      </a:lnTo>
                      <a:lnTo>
                        <a:pt x="197" y="128"/>
                      </a:lnTo>
                      <a:lnTo>
                        <a:pt x="197" y="122"/>
                      </a:lnTo>
                      <a:lnTo>
                        <a:pt x="191" y="104"/>
                      </a:lnTo>
                      <a:lnTo>
                        <a:pt x="191" y="93"/>
                      </a:lnTo>
                      <a:lnTo>
                        <a:pt x="185" y="104"/>
                      </a:lnTo>
                      <a:lnTo>
                        <a:pt x="191" y="110"/>
                      </a:lnTo>
                      <a:lnTo>
                        <a:pt x="185" y="104"/>
                      </a:lnTo>
                      <a:lnTo>
                        <a:pt x="180" y="104"/>
                      </a:lnTo>
                      <a:lnTo>
                        <a:pt x="185" y="87"/>
                      </a:lnTo>
                      <a:lnTo>
                        <a:pt x="191" y="93"/>
                      </a:lnTo>
                      <a:lnTo>
                        <a:pt x="197" y="87"/>
                      </a:lnTo>
                      <a:lnTo>
                        <a:pt x="191" y="75"/>
                      </a:lnTo>
                      <a:lnTo>
                        <a:pt x="185" y="70"/>
                      </a:lnTo>
                      <a:lnTo>
                        <a:pt x="174" y="87"/>
                      </a:lnTo>
                      <a:lnTo>
                        <a:pt x="174" y="110"/>
                      </a:lnTo>
                      <a:lnTo>
                        <a:pt x="180" y="110"/>
                      </a:lnTo>
                      <a:lnTo>
                        <a:pt x="180" y="104"/>
                      </a:lnTo>
                      <a:lnTo>
                        <a:pt x="191" y="116"/>
                      </a:lnTo>
                      <a:lnTo>
                        <a:pt x="185" y="128"/>
                      </a:lnTo>
                      <a:lnTo>
                        <a:pt x="180" y="116"/>
                      </a:lnTo>
                      <a:lnTo>
                        <a:pt x="174" y="110"/>
                      </a:lnTo>
                      <a:lnTo>
                        <a:pt x="174" y="93"/>
                      </a:lnTo>
                      <a:lnTo>
                        <a:pt x="168" y="87"/>
                      </a:lnTo>
                      <a:lnTo>
                        <a:pt x="180" y="70"/>
                      </a:lnTo>
                      <a:lnTo>
                        <a:pt x="185" y="46"/>
                      </a:lnTo>
                      <a:lnTo>
                        <a:pt x="191" y="64"/>
                      </a:lnTo>
                      <a:lnTo>
                        <a:pt x="203" y="46"/>
                      </a:lnTo>
                      <a:lnTo>
                        <a:pt x="203" y="35"/>
                      </a:lnTo>
                      <a:lnTo>
                        <a:pt x="197" y="29"/>
                      </a:lnTo>
                      <a:lnTo>
                        <a:pt x="191" y="41"/>
                      </a:lnTo>
                      <a:lnTo>
                        <a:pt x="191" y="17"/>
                      </a:lnTo>
                      <a:lnTo>
                        <a:pt x="191" y="0"/>
                      </a:lnTo>
                      <a:lnTo>
                        <a:pt x="330" y="41"/>
                      </a:lnTo>
                      <a:lnTo>
                        <a:pt x="481" y="81"/>
                      </a:lnTo>
                      <a:lnTo>
                        <a:pt x="528" y="99"/>
                      </a:lnTo>
                      <a:lnTo>
                        <a:pt x="580" y="110"/>
                      </a:lnTo>
                      <a:lnTo>
                        <a:pt x="609" y="116"/>
                      </a:lnTo>
                      <a:lnTo>
                        <a:pt x="609" y="122"/>
                      </a:lnTo>
                      <a:lnTo>
                        <a:pt x="609" y="128"/>
                      </a:lnTo>
                      <a:lnTo>
                        <a:pt x="609" y="133"/>
                      </a:lnTo>
                      <a:lnTo>
                        <a:pt x="592" y="197"/>
                      </a:lnTo>
                      <a:lnTo>
                        <a:pt x="586" y="215"/>
                      </a:lnTo>
                      <a:lnTo>
                        <a:pt x="586" y="226"/>
                      </a:lnTo>
                      <a:lnTo>
                        <a:pt x="586" y="232"/>
                      </a:lnTo>
                      <a:lnTo>
                        <a:pt x="580" y="232"/>
                      </a:lnTo>
                      <a:lnTo>
                        <a:pt x="574" y="255"/>
                      </a:lnTo>
                      <a:lnTo>
                        <a:pt x="574" y="273"/>
                      </a:lnTo>
                      <a:lnTo>
                        <a:pt x="568" y="302"/>
                      </a:lnTo>
                      <a:lnTo>
                        <a:pt x="563" y="313"/>
                      </a:lnTo>
                      <a:lnTo>
                        <a:pt x="557" y="325"/>
                      </a:lnTo>
                      <a:lnTo>
                        <a:pt x="551" y="371"/>
                      </a:lnTo>
                      <a:lnTo>
                        <a:pt x="545" y="371"/>
                      </a:lnTo>
                      <a:lnTo>
                        <a:pt x="545" y="394"/>
                      </a:lnTo>
                      <a:lnTo>
                        <a:pt x="539" y="394"/>
                      </a:lnTo>
                      <a:lnTo>
                        <a:pt x="539" y="406"/>
                      </a:lnTo>
                      <a:close/>
                    </a:path>
                  </a:pathLst>
                </a:custGeom>
                <a:solidFill>
                  <a:srgbClr val="5B9BD5">
                    <a:lumMod val="40000"/>
                    <a:lumOff val="6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70" name="Freeform 69"/>
                <p:cNvSpPr>
                  <a:spLocks/>
                </p:cNvSpPr>
                <p:nvPr/>
              </p:nvSpPr>
              <p:spPr bwMode="auto">
                <a:xfrm>
                  <a:off x="627063" y="46025"/>
                  <a:ext cx="53975" cy="46025"/>
                </a:xfrm>
                <a:custGeom>
                  <a:avLst/>
                  <a:gdLst>
                    <a:gd name="T0" fmla="*/ 5 w 34"/>
                    <a:gd name="T1" fmla="*/ 0 h 29"/>
                    <a:gd name="T2" fmla="*/ 5 w 34"/>
                    <a:gd name="T3" fmla="*/ 12 h 29"/>
                    <a:gd name="T4" fmla="*/ 11 w 34"/>
                    <a:gd name="T5" fmla="*/ 12 h 29"/>
                    <a:gd name="T6" fmla="*/ 11 w 34"/>
                    <a:gd name="T7" fmla="*/ 6 h 29"/>
                    <a:gd name="T8" fmla="*/ 34 w 34"/>
                    <a:gd name="T9" fmla="*/ 12 h 29"/>
                    <a:gd name="T10" fmla="*/ 23 w 34"/>
                    <a:gd name="T11" fmla="*/ 29 h 29"/>
                    <a:gd name="T12" fmla="*/ 5 w 34"/>
                    <a:gd name="T13" fmla="*/ 23 h 29"/>
                    <a:gd name="T14" fmla="*/ 0 w 34"/>
                    <a:gd name="T15" fmla="*/ 17 h 29"/>
                    <a:gd name="T16" fmla="*/ 5 w 34"/>
                    <a:gd name="T17" fmla="*/ 0 h 2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4"/>
                    <a:gd name="T28" fmla="*/ 0 h 29"/>
                    <a:gd name="T29" fmla="*/ 34 w 34"/>
                    <a:gd name="T30" fmla="*/ 29 h 2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4" h="29">
                      <a:moveTo>
                        <a:pt x="5" y="0"/>
                      </a:moveTo>
                      <a:lnTo>
                        <a:pt x="5" y="12"/>
                      </a:lnTo>
                      <a:lnTo>
                        <a:pt x="11" y="12"/>
                      </a:lnTo>
                      <a:lnTo>
                        <a:pt x="11" y="6"/>
                      </a:lnTo>
                      <a:lnTo>
                        <a:pt x="34" y="12"/>
                      </a:lnTo>
                      <a:lnTo>
                        <a:pt x="23" y="29"/>
                      </a:lnTo>
                      <a:lnTo>
                        <a:pt x="5" y="23"/>
                      </a:lnTo>
                      <a:lnTo>
                        <a:pt x="0" y="17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71" name="Freeform 70"/>
                <p:cNvSpPr>
                  <a:spLocks/>
                </p:cNvSpPr>
                <p:nvPr/>
              </p:nvSpPr>
              <p:spPr bwMode="auto">
                <a:xfrm>
                  <a:off x="1541087" y="1043567"/>
                  <a:ext cx="1014413" cy="837976"/>
                </a:xfrm>
                <a:custGeom>
                  <a:avLst/>
                  <a:gdLst>
                    <a:gd name="T0" fmla="*/ 395 w 639"/>
                    <a:gd name="T1" fmla="*/ 511 h 528"/>
                    <a:gd name="T2" fmla="*/ 354 w 639"/>
                    <a:gd name="T3" fmla="*/ 505 h 528"/>
                    <a:gd name="T4" fmla="*/ 314 w 639"/>
                    <a:gd name="T5" fmla="*/ 499 h 528"/>
                    <a:gd name="T6" fmla="*/ 267 w 639"/>
                    <a:gd name="T7" fmla="*/ 493 h 528"/>
                    <a:gd name="T8" fmla="*/ 192 w 639"/>
                    <a:gd name="T9" fmla="*/ 482 h 528"/>
                    <a:gd name="T10" fmla="*/ 128 w 639"/>
                    <a:gd name="T11" fmla="*/ 470 h 528"/>
                    <a:gd name="T12" fmla="*/ 81 w 639"/>
                    <a:gd name="T13" fmla="*/ 464 h 528"/>
                    <a:gd name="T14" fmla="*/ 0 w 639"/>
                    <a:gd name="T15" fmla="*/ 453 h 528"/>
                    <a:gd name="T16" fmla="*/ 6 w 639"/>
                    <a:gd name="T17" fmla="*/ 401 h 528"/>
                    <a:gd name="T18" fmla="*/ 12 w 639"/>
                    <a:gd name="T19" fmla="*/ 383 h 528"/>
                    <a:gd name="T20" fmla="*/ 18 w 639"/>
                    <a:gd name="T21" fmla="*/ 354 h 528"/>
                    <a:gd name="T22" fmla="*/ 23 w 639"/>
                    <a:gd name="T23" fmla="*/ 325 h 528"/>
                    <a:gd name="T24" fmla="*/ 29 w 639"/>
                    <a:gd name="T25" fmla="*/ 279 h 528"/>
                    <a:gd name="T26" fmla="*/ 41 w 639"/>
                    <a:gd name="T27" fmla="*/ 227 h 528"/>
                    <a:gd name="T28" fmla="*/ 41 w 639"/>
                    <a:gd name="T29" fmla="*/ 198 h 528"/>
                    <a:gd name="T30" fmla="*/ 47 w 639"/>
                    <a:gd name="T31" fmla="*/ 174 h 528"/>
                    <a:gd name="T32" fmla="*/ 52 w 639"/>
                    <a:gd name="T33" fmla="*/ 140 h 528"/>
                    <a:gd name="T34" fmla="*/ 58 w 639"/>
                    <a:gd name="T35" fmla="*/ 116 h 528"/>
                    <a:gd name="T36" fmla="*/ 64 w 639"/>
                    <a:gd name="T37" fmla="*/ 87 h 528"/>
                    <a:gd name="T38" fmla="*/ 70 w 639"/>
                    <a:gd name="T39" fmla="*/ 41 h 528"/>
                    <a:gd name="T40" fmla="*/ 128 w 639"/>
                    <a:gd name="T41" fmla="*/ 12 h 528"/>
                    <a:gd name="T42" fmla="*/ 174 w 639"/>
                    <a:gd name="T43" fmla="*/ 18 h 528"/>
                    <a:gd name="T44" fmla="*/ 238 w 639"/>
                    <a:gd name="T45" fmla="*/ 29 h 528"/>
                    <a:gd name="T46" fmla="*/ 279 w 639"/>
                    <a:gd name="T47" fmla="*/ 35 h 528"/>
                    <a:gd name="T48" fmla="*/ 302 w 639"/>
                    <a:gd name="T49" fmla="*/ 35 h 528"/>
                    <a:gd name="T50" fmla="*/ 389 w 639"/>
                    <a:gd name="T51" fmla="*/ 47 h 528"/>
                    <a:gd name="T52" fmla="*/ 459 w 639"/>
                    <a:gd name="T53" fmla="*/ 58 h 528"/>
                    <a:gd name="T54" fmla="*/ 482 w 639"/>
                    <a:gd name="T55" fmla="*/ 58 h 528"/>
                    <a:gd name="T56" fmla="*/ 557 w 639"/>
                    <a:gd name="T57" fmla="*/ 70 h 528"/>
                    <a:gd name="T58" fmla="*/ 586 w 639"/>
                    <a:gd name="T59" fmla="*/ 70 h 528"/>
                    <a:gd name="T60" fmla="*/ 633 w 639"/>
                    <a:gd name="T61" fmla="*/ 105 h 528"/>
                    <a:gd name="T62" fmla="*/ 633 w 639"/>
                    <a:gd name="T63" fmla="*/ 134 h 528"/>
                    <a:gd name="T64" fmla="*/ 627 w 639"/>
                    <a:gd name="T65" fmla="*/ 169 h 528"/>
                    <a:gd name="T66" fmla="*/ 627 w 639"/>
                    <a:gd name="T67" fmla="*/ 192 h 528"/>
                    <a:gd name="T68" fmla="*/ 627 w 639"/>
                    <a:gd name="T69" fmla="*/ 221 h 528"/>
                    <a:gd name="T70" fmla="*/ 621 w 639"/>
                    <a:gd name="T71" fmla="*/ 244 h 528"/>
                    <a:gd name="T72" fmla="*/ 621 w 639"/>
                    <a:gd name="T73" fmla="*/ 261 h 528"/>
                    <a:gd name="T74" fmla="*/ 615 w 639"/>
                    <a:gd name="T75" fmla="*/ 302 h 528"/>
                    <a:gd name="T76" fmla="*/ 615 w 639"/>
                    <a:gd name="T77" fmla="*/ 325 h 528"/>
                    <a:gd name="T78" fmla="*/ 610 w 639"/>
                    <a:gd name="T79" fmla="*/ 389 h 528"/>
                    <a:gd name="T80" fmla="*/ 610 w 639"/>
                    <a:gd name="T81" fmla="*/ 418 h 528"/>
                    <a:gd name="T82" fmla="*/ 604 w 639"/>
                    <a:gd name="T83" fmla="*/ 447 h 528"/>
                    <a:gd name="T84" fmla="*/ 604 w 639"/>
                    <a:gd name="T85" fmla="*/ 459 h 528"/>
                    <a:gd name="T86" fmla="*/ 604 w 639"/>
                    <a:gd name="T87" fmla="*/ 470 h 528"/>
                    <a:gd name="T88" fmla="*/ 598 w 639"/>
                    <a:gd name="T89" fmla="*/ 493 h 528"/>
                    <a:gd name="T90" fmla="*/ 598 w 639"/>
                    <a:gd name="T91" fmla="*/ 528 h 528"/>
                    <a:gd name="T92" fmla="*/ 528 w 639"/>
                    <a:gd name="T93" fmla="*/ 522 h 528"/>
                    <a:gd name="T94" fmla="*/ 505 w 639"/>
                    <a:gd name="T95" fmla="*/ 522 h 528"/>
                    <a:gd name="T96" fmla="*/ 494 w 639"/>
                    <a:gd name="T97" fmla="*/ 517 h 528"/>
                    <a:gd name="T98" fmla="*/ 424 w 639"/>
                    <a:gd name="T99" fmla="*/ 511 h 528"/>
                    <a:gd name="T100" fmla="*/ 406 w 639"/>
                    <a:gd name="T101" fmla="*/ 511 h 528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639"/>
                    <a:gd name="T154" fmla="*/ 0 h 528"/>
                    <a:gd name="T155" fmla="*/ 639 w 639"/>
                    <a:gd name="T156" fmla="*/ 528 h 528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639" h="528">
                      <a:moveTo>
                        <a:pt x="401" y="511"/>
                      </a:moveTo>
                      <a:lnTo>
                        <a:pt x="395" y="511"/>
                      </a:lnTo>
                      <a:lnTo>
                        <a:pt x="389" y="505"/>
                      </a:lnTo>
                      <a:lnTo>
                        <a:pt x="354" y="505"/>
                      </a:lnTo>
                      <a:lnTo>
                        <a:pt x="319" y="499"/>
                      </a:lnTo>
                      <a:lnTo>
                        <a:pt x="314" y="499"/>
                      </a:lnTo>
                      <a:lnTo>
                        <a:pt x="290" y="493"/>
                      </a:lnTo>
                      <a:lnTo>
                        <a:pt x="267" y="493"/>
                      </a:lnTo>
                      <a:lnTo>
                        <a:pt x="244" y="488"/>
                      </a:lnTo>
                      <a:lnTo>
                        <a:pt x="192" y="482"/>
                      </a:lnTo>
                      <a:lnTo>
                        <a:pt x="169" y="476"/>
                      </a:lnTo>
                      <a:lnTo>
                        <a:pt x="128" y="470"/>
                      </a:lnTo>
                      <a:lnTo>
                        <a:pt x="87" y="464"/>
                      </a:lnTo>
                      <a:lnTo>
                        <a:pt x="81" y="464"/>
                      </a:lnTo>
                      <a:lnTo>
                        <a:pt x="64" y="464"/>
                      </a:lnTo>
                      <a:lnTo>
                        <a:pt x="0" y="453"/>
                      </a:lnTo>
                      <a:lnTo>
                        <a:pt x="6" y="424"/>
                      </a:lnTo>
                      <a:lnTo>
                        <a:pt x="6" y="401"/>
                      </a:lnTo>
                      <a:lnTo>
                        <a:pt x="6" y="395"/>
                      </a:lnTo>
                      <a:lnTo>
                        <a:pt x="12" y="383"/>
                      </a:lnTo>
                      <a:lnTo>
                        <a:pt x="12" y="366"/>
                      </a:lnTo>
                      <a:lnTo>
                        <a:pt x="18" y="354"/>
                      </a:lnTo>
                      <a:lnTo>
                        <a:pt x="18" y="337"/>
                      </a:lnTo>
                      <a:lnTo>
                        <a:pt x="23" y="325"/>
                      </a:lnTo>
                      <a:lnTo>
                        <a:pt x="29" y="285"/>
                      </a:lnTo>
                      <a:lnTo>
                        <a:pt x="29" y="279"/>
                      </a:lnTo>
                      <a:lnTo>
                        <a:pt x="35" y="256"/>
                      </a:lnTo>
                      <a:lnTo>
                        <a:pt x="41" y="227"/>
                      </a:lnTo>
                      <a:lnTo>
                        <a:pt x="41" y="221"/>
                      </a:lnTo>
                      <a:lnTo>
                        <a:pt x="41" y="198"/>
                      </a:lnTo>
                      <a:lnTo>
                        <a:pt x="47" y="192"/>
                      </a:lnTo>
                      <a:lnTo>
                        <a:pt x="47" y="174"/>
                      </a:lnTo>
                      <a:lnTo>
                        <a:pt x="47" y="169"/>
                      </a:lnTo>
                      <a:lnTo>
                        <a:pt x="52" y="140"/>
                      </a:lnTo>
                      <a:lnTo>
                        <a:pt x="52" y="128"/>
                      </a:lnTo>
                      <a:lnTo>
                        <a:pt x="58" y="116"/>
                      </a:lnTo>
                      <a:lnTo>
                        <a:pt x="58" y="99"/>
                      </a:lnTo>
                      <a:lnTo>
                        <a:pt x="64" y="87"/>
                      </a:lnTo>
                      <a:lnTo>
                        <a:pt x="64" y="58"/>
                      </a:lnTo>
                      <a:lnTo>
                        <a:pt x="70" y="41"/>
                      </a:lnTo>
                      <a:lnTo>
                        <a:pt x="76" y="0"/>
                      </a:lnTo>
                      <a:lnTo>
                        <a:pt x="128" y="12"/>
                      </a:lnTo>
                      <a:lnTo>
                        <a:pt x="163" y="18"/>
                      </a:lnTo>
                      <a:lnTo>
                        <a:pt x="174" y="18"/>
                      </a:lnTo>
                      <a:lnTo>
                        <a:pt x="232" y="24"/>
                      </a:lnTo>
                      <a:lnTo>
                        <a:pt x="238" y="29"/>
                      </a:lnTo>
                      <a:lnTo>
                        <a:pt x="273" y="35"/>
                      </a:lnTo>
                      <a:lnTo>
                        <a:pt x="279" y="35"/>
                      </a:lnTo>
                      <a:lnTo>
                        <a:pt x="290" y="35"/>
                      </a:lnTo>
                      <a:lnTo>
                        <a:pt x="302" y="35"/>
                      </a:lnTo>
                      <a:lnTo>
                        <a:pt x="325" y="41"/>
                      </a:lnTo>
                      <a:lnTo>
                        <a:pt x="389" y="47"/>
                      </a:lnTo>
                      <a:lnTo>
                        <a:pt x="401" y="53"/>
                      </a:lnTo>
                      <a:lnTo>
                        <a:pt x="459" y="58"/>
                      </a:lnTo>
                      <a:lnTo>
                        <a:pt x="470" y="58"/>
                      </a:lnTo>
                      <a:lnTo>
                        <a:pt x="482" y="58"/>
                      </a:lnTo>
                      <a:lnTo>
                        <a:pt x="488" y="58"/>
                      </a:lnTo>
                      <a:lnTo>
                        <a:pt x="557" y="70"/>
                      </a:lnTo>
                      <a:lnTo>
                        <a:pt x="575" y="70"/>
                      </a:lnTo>
                      <a:lnTo>
                        <a:pt x="586" y="70"/>
                      </a:lnTo>
                      <a:lnTo>
                        <a:pt x="639" y="76"/>
                      </a:lnTo>
                      <a:lnTo>
                        <a:pt x="633" y="105"/>
                      </a:lnTo>
                      <a:lnTo>
                        <a:pt x="633" y="122"/>
                      </a:lnTo>
                      <a:lnTo>
                        <a:pt x="633" y="134"/>
                      </a:lnTo>
                      <a:lnTo>
                        <a:pt x="633" y="163"/>
                      </a:lnTo>
                      <a:lnTo>
                        <a:pt x="627" y="169"/>
                      </a:lnTo>
                      <a:lnTo>
                        <a:pt x="627" y="174"/>
                      </a:lnTo>
                      <a:lnTo>
                        <a:pt x="627" y="192"/>
                      </a:lnTo>
                      <a:lnTo>
                        <a:pt x="627" y="203"/>
                      </a:lnTo>
                      <a:lnTo>
                        <a:pt x="627" y="221"/>
                      </a:lnTo>
                      <a:lnTo>
                        <a:pt x="621" y="232"/>
                      </a:lnTo>
                      <a:lnTo>
                        <a:pt x="621" y="244"/>
                      </a:lnTo>
                      <a:lnTo>
                        <a:pt x="621" y="250"/>
                      </a:lnTo>
                      <a:lnTo>
                        <a:pt x="621" y="261"/>
                      </a:lnTo>
                      <a:lnTo>
                        <a:pt x="621" y="290"/>
                      </a:lnTo>
                      <a:lnTo>
                        <a:pt x="615" y="302"/>
                      </a:lnTo>
                      <a:lnTo>
                        <a:pt x="615" y="308"/>
                      </a:lnTo>
                      <a:lnTo>
                        <a:pt x="615" y="325"/>
                      </a:lnTo>
                      <a:lnTo>
                        <a:pt x="615" y="348"/>
                      </a:lnTo>
                      <a:lnTo>
                        <a:pt x="610" y="389"/>
                      </a:lnTo>
                      <a:lnTo>
                        <a:pt x="610" y="401"/>
                      </a:lnTo>
                      <a:lnTo>
                        <a:pt x="610" y="418"/>
                      </a:lnTo>
                      <a:lnTo>
                        <a:pt x="604" y="430"/>
                      </a:lnTo>
                      <a:lnTo>
                        <a:pt x="604" y="447"/>
                      </a:lnTo>
                      <a:lnTo>
                        <a:pt x="604" y="453"/>
                      </a:lnTo>
                      <a:lnTo>
                        <a:pt x="604" y="459"/>
                      </a:lnTo>
                      <a:lnTo>
                        <a:pt x="604" y="464"/>
                      </a:lnTo>
                      <a:lnTo>
                        <a:pt x="604" y="470"/>
                      </a:lnTo>
                      <a:lnTo>
                        <a:pt x="598" y="488"/>
                      </a:lnTo>
                      <a:lnTo>
                        <a:pt x="598" y="493"/>
                      </a:lnTo>
                      <a:lnTo>
                        <a:pt x="598" y="517"/>
                      </a:lnTo>
                      <a:lnTo>
                        <a:pt x="598" y="528"/>
                      </a:lnTo>
                      <a:lnTo>
                        <a:pt x="546" y="522"/>
                      </a:lnTo>
                      <a:lnTo>
                        <a:pt x="528" y="522"/>
                      </a:lnTo>
                      <a:lnTo>
                        <a:pt x="523" y="522"/>
                      </a:lnTo>
                      <a:lnTo>
                        <a:pt x="505" y="522"/>
                      </a:lnTo>
                      <a:lnTo>
                        <a:pt x="494" y="522"/>
                      </a:lnTo>
                      <a:lnTo>
                        <a:pt x="494" y="517"/>
                      </a:lnTo>
                      <a:lnTo>
                        <a:pt x="476" y="517"/>
                      </a:lnTo>
                      <a:lnTo>
                        <a:pt x="424" y="511"/>
                      </a:lnTo>
                      <a:lnTo>
                        <a:pt x="412" y="511"/>
                      </a:lnTo>
                      <a:lnTo>
                        <a:pt x="406" y="511"/>
                      </a:lnTo>
                      <a:lnTo>
                        <a:pt x="401" y="511"/>
                      </a:lnTo>
                      <a:close/>
                    </a:path>
                  </a:pathLst>
                </a:custGeom>
                <a:solidFill>
                  <a:srgbClr val="5B9BD5">
                    <a:lumMod val="40000"/>
                    <a:lumOff val="60000"/>
                  </a:srgbClr>
                </a:solidFill>
                <a:ln w="0" cap="flat" cmpd="sng">
                  <a:solidFill>
                    <a:sysClr val="window" lastClr="FFFFFF">
                      <a:lumMod val="6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algn="ctr" fontAlgn="auto">
                    <a:lnSpc>
                      <a:spcPct val="107000"/>
                    </a:lnSpc>
                    <a:spcBef>
                      <a:spcPts val="0"/>
                    </a:spcBef>
                    <a:spcAft>
                      <a:spcPts val="800"/>
                    </a:spcAft>
                    <a:defRPr/>
                  </a:pPr>
                  <a:r>
                    <a:rPr lang="en-US" sz="1100" kern="0">
                      <a:solidFill>
                        <a:sysClr val="windowText" lastClr="000000"/>
                      </a:solidFill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 </a:t>
                  </a:r>
                </a:p>
              </p:txBody>
            </p:sp>
            <p:cxnSp>
              <p:nvCxnSpPr>
                <p:cNvPr id="72" name="Line 72"/>
                <p:cNvCxnSpPr/>
                <p:nvPr/>
              </p:nvCxnSpPr>
              <p:spPr bwMode="auto">
                <a:xfrm flipH="1" flipV="1">
                  <a:off x="6980783" y="1632521"/>
                  <a:ext cx="139700" cy="19045"/>
                </a:xfrm>
                <a:prstGeom prst="line">
                  <a:avLst/>
                </a:prstGeom>
                <a:grpFill/>
                <a:ln w="0">
                  <a:solidFill>
                    <a:sysClr val="window" lastClr="FFFFFF">
                      <a:lumMod val="65000"/>
                    </a:sysClr>
                  </a:solidFill>
                  <a:round/>
                  <a:headEnd/>
                  <a:tailEnd/>
                </a:ln>
              </p:spPr>
            </p:cxnSp>
          </p:grpSp>
          <p:sp>
            <p:nvSpPr>
              <p:cNvPr id="81" name="5-Point Star 80"/>
              <p:cNvSpPr/>
              <p:nvPr/>
            </p:nvSpPr>
            <p:spPr>
              <a:xfrm>
                <a:off x="2092170" y="4812034"/>
                <a:ext cx="236777" cy="236900"/>
              </a:xfrm>
              <a:prstGeom prst="star5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14" name="5-Point Star 213"/>
              <p:cNvSpPr/>
              <p:nvPr/>
            </p:nvSpPr>
            <p:spPr>
              <a:xfrm>
                <a:off x="4382944" y="4076541"/>
                <a:ext cx="236776" cy="236900"/>
              </a:xfrm>
              <a:prstGeom prst="star5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15" name="5-Point Star 214"/>
              <p:cNvSpPr/>
              <p:nvPr/>
            </p:nvSpPr>
            <p:spPr>
              <a:xfrm>
                <a:off x="4150525" y="5609507"/>
                <a:ext cx="236776" cy="236900"/>
              </a:xfrm>
              <a:prstGeom prst="star5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16" name="5-Point Star 215"/>
              <p:cNvSpPr/>
              <p:nvPr/>
            </p:nvSpPr>
            <p:spPr>
              <a:xfrm>
                <a:off x="5839916" y="5174271"/>
                <a:ext cx="236777" cy="236900"/>
              </a:xfrm>
              <a:prstGeom prst="star5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7190" name="Group 85"/>
            <p:cNvGrpSpPr>
              <a:grpSpLocks/>
            </p:cNvGrpSpPr>
            <p:nvPr/>
          </p:nvGrpSpPr>
          <p:grpSpPr bwMode="auto">
            <a:xfrm>
              <a:off x="3524873" y="5241193"/>
              <a:ext cx="3626371" cy="884794"/>
              <a:chOff x="3524873" y="5241193"/>
              <a:chExt cx="3626371" cy="884794"/>
            </a:xfrm>
          </p:grpSpPr>
          <p:sp>
            <p:nvSpPr>
              <p:cNvPr id="5" name="Isosceles Triangle 4"/>
              <p:cNvSpPr/>
              <p:nvPr/>
            </p:nvSpPr>
            <p:spPr>
              <a:xfrm>
                <a:off x="3524515" y="5241000"/>
                <a:ext cx="207724" cy="172166"/>
              </a:xfrm>
              <a:prstGeom prst="triangle">
                <a:avLst/>
              </a:prstGeom>
              <a:solidFill>
                <a:srgbClr val="FF0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  <p:sp>
            <p:nvSpPr>
              <p:cNvPr id="89" name="Isosceles Triangle 88"/>
              <p:cNvSpPr/>
              <p:nvPr/>
            </p:nvSpPr>
            <p:spPr>
              <a:xfrm>
                <a:off x="6943970" y="5954456"/>
                <a:ext cx="207724" cy="172166"/>
              </a:xfrm>
              <a:prstGeom prst="triangle">
                <a:avLst/>
              </a:prstGeom>
              <a:solidFill>
                <a:srgbClr val="FF0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</p:grpSp>
      </p:grpSp>
      <p:sp>
        <p:nvSpPr>
          <p:cNvPr id="82" name="Rectangle 81"/>
          <p:cNvSpPr/>
          <p:nvPr/>
        </p:nvSpPr>
        <p:spPr>
          <a:xfrm>
            <a:off x="158750" y="3784600"/>
            <a:ext cx="2147888" cy="270827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1" name="5-Point Star 90"/>
          <p:cNvSpPr/>
          <p:nvPr/>
        </p:nvSpPr>
        <p:spPr>
          <a:xfrm>
            <a:off x="219075" y="3990975"/>
            <a:ext cx="236538" cy="236538"/>
          </a:xfrm>
          <a:prstGeom prst="star5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2" name="Isosceles Triangle 91"/>
          <p:cNvSpPr/>
          <p:nvPr/>
        </p:nvSpPr>
        <p:spPr>
          <a:xfrm>
            <a:off x="247650" y="4302125"/>
            <a:ext cx="207963" cy="173038"/>
          </a:xfrm>
          <a:prstGeom prst="triangl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3" name="TextBox 82"/>
          <p:cNvSpPr txBox="1"/>
          <p:nvPr/>
        </p:nvSpPr>
        <p:spPr>
          <a:xfrm>
            <a:off x="146050" y="3870325"/>
            <a:ext cx="2513013" cy="24923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cs typeface="+mn-cs"/>
              </a:rPr>
              <a:t>       </a:t>
            </a:r>
            <a:r>
              <a:rPr lang="en-US" sz="1100" dirty="0">
                <a:latin typeface="+mn-lt"/>
                <a:cs typeface="+mn-cs"/>
              </a:rPr>
              <a:t>= Launched Site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latin typeface="+mn-lt"/>
                <a:cs typeface="+mn-cs"/>
              </a:rPr>
              <a:t>            = Upcoming Site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+mn-lt"/>
                <a:cs typeface="+mn-cs"/>
              </a:rPr>
              <a:t>Burnsville, MN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+mn-lt"/>
                <a:cs typeface="+mn-cs"/>
              </a:rPr>
              <a:t>Houston, TX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+mn-lt"/>
                <a:cs typeface="+mn-cs"/>
              </a:rPr>
              <a:t>Las Vegas, NV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+mn-lt"/>
                <a:cs typeface="+mn-cs"/>
              </a:rPr>
              <a:t>Nashville, TN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+mn-lt"/>
                <a:cs typeface="+mn-cs"/>
              </a:rPr>
              <a:t>Orlando, FL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+mn-lt"/>
                <a:cs typeface="+mn-cs"/>
              </a:rPr>
              <a:t>Phoenix, AZ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+mn-lt"/>
                <a:cs typeface="+mn-cs"/>
              </a:rPr>
              <a:t>Winston-Salem, NC</a:t>
            </a:r>
          </a:p>
        </p:txBody>
      </p:sp>
      <p:sp>
        <p:nvSpPr>
          <p:cNvPr id="94" name="5-Point Star 93"/>
          <p:cNvSpPr/>
          <p:nvPr/>
        </p:nvSpPr>
        <p:spPr>
          <a:xfrm>
            <a:off x="2014538" y="6070600"/>
            <a:ext cx="195262" cy="195263"/>
          </a:xfrm>
          <a:prstGeom prst="star5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5" name="5-Point Star 94"/>
          <p:cNvSpPr/>
          <p:nvPr/>
        </p:nvSpPr>
        <p:spPr>
          <a:xfrm>
            <a:off x="1625600" y="5214938"/>
            <a:ext cx="195263" cy="195262"/>
          </a:xfrm>
          <a:prstGeom prst="star5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6" name="5-Point Star 95"/>
          <p:cNvSpPr/>
          <p:nvPr/>
        </p:nvSpPr>
        <p:spPr>
          <a:xfrm>
            <a:off x="1625600" y="4986338"/>
            <a:ext cx="195263" cy="195262"/>
          </a:xfrm>
          <a:prstGeom prst="star5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7" name="5-Point Star 96"/>
          <p:cNvSpPr/>
          <p:nvPr/>
        </p:nvSpPr>
        <p:spPr>
          <a:xfrm>
            <a:off x="1625600" y="4757738"/>
            <a:ext cx="195263" cy="195262"/>
          </a:xfrm>
          <a:prstGeom prst="star5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8" name="Isosceles Triangle 97"/>
          <p:cNvSpPr/>
          <p:nvPr/>
        </p:nvSpPr>
        <p:spPr>
          <a:xfrm>
            <a:off x="1466850" y="5868988"/>
            <a:ext cx="173038" cy="141287"/>
          </a:xfrm>
          <a:prstGeom prst="triangl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9" name="Isosceles Triangle 98"/>
          <p:cNvSpPr/>
          <p:nvPr/>
        </p:nvSpPr>
        <p:spPr>
          <a:xfrm>
            <a:off x="1454150" y="5646738"/>
            <a:ext cx="171450" cy="141287"/>
          </a:xfrm>
          <a:prstGeom prst="triangl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0" name="TextBox 89"/>
          <p:cNvSpPr txBox="1"/>
          <p:nvPr/>
        </p:nvSpPr>
        <p:spPr>
          <a:xfrm>
            <a:off x="228600" y="966788"/>
            <a:ext cx="7997825" cy="1539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/>
                </a:solidFill>
                <a:latin typeface="+mn-lt"/>
                <a:cs typeface="+mn-cs"/>
              </a:rPr>
              <a:t>Pepsi ACT is a national partnership between PepsiCo and Disability Solutions @Ability Beyond (non-profit consulting partner) that is supported by the funder collaborative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chemeClr val="bg1"/>
                </a:solidFill>
                <a:latin typeface="+mn-lt"/>
                <a:cs typeface="+mn-cs"/>
              </a:rPr>
              <a:t>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atin typeface="+mn-lt"/>
                <a:cs typeface="+mn-cs"/>
              </a:rPr>
              <a:t>Currently in the process of launching 10 sites in all 8 PepsiCo regions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atin typeface="+mn-lt"/>
                <a:cs typeface="+mn-cs"/>
              </a:rPr>
              <a:t>Pilot sites located at production and distribution centers, certified center, and call center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latin typeface="+mn-lt"/>
                <a:cs typeface="+mn-cs"/>
              </a:rPr>
              <a:t>Al Carey, CEO - PepsiCo North America Beverages is updated monthly on progress</a:t>
            </a:r>
          </a:p>
        </p:txBody>
      </p:sp>
      <p:sp>
        <p:nvSpPr>
          <p:cNvPr id="102" name="Line Callout 3 101"/>
          <p:cNvSpPr/>
          <p:nvPr/>
        </p:nvSpPr>
        <p:spPr>
          <a:xfrm>
            <a:off x="2906713" y="2727325"/>
            <a:ext cx="5041900" cy="711200"/>
          </a:xfrm>
          <a:prstGeom prst="borderCallout3">
            <a:avLst>
              <a:gd name="adj1" fmla="val -69151"/>
              <a:gd name="adj2" fmla="val 78932"/>
              <a:gd name="adj3" fmla="val -70720"/>
              <a:gd name="adj4" fmla="val 106782"/>
              <a:gd name="adj5" fmla="val 52747"/>
              <a:gd name="adj6" fmla="val 107016"/>
              <a:gd name="adj7" fmla="val 51691"/>
              <a:gd name="adj8" fmla="val 102059"/>
            </a:avLst>
          </a:prstGeom>
          <a:solidFill>
            <a:srgbClr val="00B48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bg1"/>
                </a:solidFill>
              </a:rPr>
              <a:t>Proof Point – Retention:</a:t>
            </a:r>
          </a:p>
          <a:p>
            <a:pPr marL="742904" lvl="1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</a:rPr>
              <a:t>Retention rate for Pepsi ACT employees =74% </a:t>
            </a:r>
          </a:p>
          <a:p>
            <a:pPr marL="742904" lvl="1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</a:rPr>
              <a:t>Average PepsiCo Frontline Retention Rate = 64%</a:t>
            </a:r>
          </a:p>
        </p:txBody>
      </p:sp>
      <p:sp>
        <p:nvSpPr>
          <p:cNvPr id="101" name="5-Point Star 100"/>
          <p:cNvSpPr/>
          <p:nvPr/>
        </p:nvSpPr>
        <p:spPr>
          <a:xfrm>
            <a:off x="1636713" y="5410200"/>
            <a:ext cx="195262" cy="195263"/>
          </a:xfrm>
          <a:prstGeom prst="star5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3" name="5-Point Star 102"/>
          <p:cNvSpPr/>
          <p:nvPr/>
        </p:nvSpPr>
        <p:spPr>
          <a:xfrm>
            <a:off x="6638925" y="5410200"/>
            <a:ext cx="196850" cy="196850"/>
          </a:xfrm>
          <a:prstGeom prst="star5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7620000" cy="1143000"/>
          </a:xfrm>
        </p:spPr>
        <p:txBody>
          <a:bodyPr/>
          <a:lstStyle/>
          <a:p>
            <a:pPr eaLnBrk="1" hangingPunct="1"/>
            <a:r>
              <a:rPr lang="en-US" altLang="en-US" sz="3600" b="1" dirty="0" smtClean="0">
                <a:solidFill>
                  <a:srgbClr val="002060"/>
                </a:solidFill>
                <a:latin typeface="Georgia" panose="02040502050405020303" pitchFamily="18" charset="0"/>
              </a:rPr>
              <a:t>Pepsi ACT: Project Totals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76200" y="1828800"/>
          <a:ext cx="3892550" cy="259079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836001"/>
                <a:gridCol w="1056549"/>
              </a:tblGrid>
              <a:tr h="415773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 Status</a:t>
                      </a:r>
                      <a:endParaRPr lang="en-US" sz="1600" dirty="0"/>
                    </a:p>
                  </a:txBody>
                  <a:tcPr marL="91446" marR="91446" marT="45740" marB="4574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Count</a:t>
                      </a:r>
                      <a:endParaRPr lang="en-US" sz="1600" dirty="0"/>
                    </a:p>
                  </a:txBody>
                  <a:tcPr marL="91446" marR="91446" marT="45740" marB="45740" anchor="b"/>
                </a:tc>
              </a:tr>
              <a:tr h="460426">
                <a:tc>
                  <a:txBody>
                    <a:bodyPr/>
                    <a:lstStyle/>
                    <a:p>
                      <a:pPr algn="l"/>
                      <a:r>
                        <a:rPr lang="en-US" sz="1800" dirty="0" smtClean="0"/>
                        <a:t>Started</a:t>
                      </a:r>
                      <a:r>
                        <a:rPr lang="en-US" sz="1800" baseline="0" dirty="0" smtClean="0"/>
                        <a:t> Work</a:t>
                      </a:r>
                      <a:endParaRPr lang="en-US" sz="1800" dirty="0"/>
                    </a:p>
                  </a:txBody>
                  <a:tcPr marL="91446" marR="91446" marT="45740" marB="4574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smtClean="0"/>
                        <a:t>75</a:t>
                      </a:r>
                      <a:endParaRPr lang="en-US" sz="1800" dirty="0"/>
                    </a:p>
                  </a:txBody>
                  <a:tcPr marL="91446" marR="91446" marT="45740" marB="45740" anchor="b"/>
                </a:tc>
              </a:tr>
              <a:tr h="460426">
                <a:tc>
                  <a:txBody>
                    <a:bodyPr/>
                    <a:lstStyle/>
                    <a:p>
                      <a:pPr algn="l"/>
                      <a:r>
                        <a:rPr lang="en-US" sz="1800" dirty="0" smtClean="0"/>
                        <a:t>Remain</a:t>
                      </a:r>
                      <a:r>
                        <a:rPr lang="en-US" sz="1800" baseline="0" dirty="0" smtClean="0"/>
                        <a:t> Working</a:t>
                      </a:r>
                      <a:endParaRPr lang="en-US" sz="1800" dirty="0"/>
                    </a:p>
                  </a:txBody>
                  <a:tcPr marL="91446" marR="91446" marT="45740" marB="4574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58</a:t>
                      </a:r>
                      <a:endParaRPr lang="en-US" sz="1800" dirty="0"/>
                    </a:p>
                  </a:txBody>
                  <a:tcPr marL="91446" marR="91446" marT="45740" marB="45740" anchor="b"/>
                </a:tc>
              </a:tr>
              <a:tr h="460426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 smtClean="0"/>
                        <a:t>Project</a:t>
                      </a:r>
                      <a:r>
                        <a:rPr lang="en-US" sz="1800" b="1" baseline="0" dirty="0" smtClean="0"/>
                        <a:t> </a:t>
                      </a:r>
                      <a:r>
                        <a:rPr lang="en-US" sz="1800" b="1" dirty="0" smtClean="0"/>
                        <a:t>Retention</a:t>
                      </a:r>
                      <a:r>
                        <a:rPr lang="en-US" sz="1800" b="1" baseline="0" dirty="0" smtClean="0"/>
                        <a:t> Rate </a:t>
                      </a:r>
                      <a:endParaRPr lang="en-US" sz="1800" b="1" dirty="0"/>
                    </a:p>
                  </a:txBody>
                  <a:tcPr marL="91446" marR="91446" marT="45740" marB="4574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/>
                        <a:t>77%</a:t>
                      </a:r>
                      <a:endParaRPr lang="en-US" sz="1800" b="1" dirty="0"/>
                    </a:p>
                  </a:txBody>
                  <a:tcPr marL="91446" marR="91446" marT="45740" marB="45740" anchor="b"/>
                </a:tc>
              </a:tr>
              <a:tr h="793748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 smtClean="0"/>
                        <a:t>Average Frontline Retention</a:t>
                      </a:r>
                      <a:r>
                        <a:rPr lang="en-US" sz="1800" b="1" baseline="0" dirty="0" smtClean="0"/>
                        <a:t> Rate</a:t>
                      </a:r>
                      <a:endParaRPr lang="en-US" sz="1800" b="1" dirty="0"/>
                    </a:p>
                  </a:txBody>
                  <a:tcPr marL="91446" marR="91446" marT="45740" marB="4574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/>
                        <a:t>64%</a:t>
                      </a:r>
                      <a:endParaRPr lang="en-US" sz="1800" b="1" dirty="0"/>
                    </a:p>
                  </a:txBody>
                  <a:tcPr marL="91446" marR="91446" marT="45740" marB="45740" anchor="b"/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114800" y="1828800"/>
          <a:ext cx="4191000" cy="259079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421711"/>
                <a:gridCol w="769289"/>
              </a:tblGrid>
              <a:tr h="388325"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 smtClean="0"/>
                        <a:t>Site</a:t>
                      </a:r>
                      <a:endParaRPr lang="en-US" sz="16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Count</a:t>
                      </a:r>
                      <a:endParaRPr lang="en-US" sz="1600" dirty="0"/>
                    </a:p>
                  </a:txBody>
                  <a:tcPr marT="45725" marB="45725"/>
                </a:tc>
              </a:tr>
              <a:tr h="39980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Burnsville, MN</a:t>
                      </a:r>
                      <a:endParaRPr lang="en-US" sz="16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2</a:t>
                      </a:r>
                      <a:endParaRPr lang="en-US" sz="1600" dirty="0"/>
                    </a:p>
                  </a:txBody>
                  <a:tcPr marT="45725" marB="45725"/>
                </a:tc>
              </a:tr>
              <a:tr h="388325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Houston, TX</a:t>
                      </a:r>
                      <a:endParaRPr lang="en-US" sz="16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7</a:t>
                      </a:r>
                      <a:endParaRPr lang="en-US" sz="1600" dirty="0"/>
                    </a:p>
                  </a:txBody>
                  <a:tcPr marT="45725" marB="45725"/>
                </a:tc>
              </a:tr>
              <a:tr h="47144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Las Vegas, NV </a:t>
                      </a:r>
                      <a:endParaRPr lang="en-US" sz="16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8</a:t>
                      </a:r>
                      <a:endParaRPr lang="en-US" sz="1600" dirty="0"/>
                    </a:p>
                  </a:txBody>
                  <a:tcPr marT="45725" marB="45725"/>
                </a:tc>
              </a:tr>
              <a:tr h="47144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Winston-Salem</a:t>
                      </a:r>
                      <a:r>
                        <a:rPr lang="en-US" sz="1600" baseline="0" dirty="0" smtClean="0"/>
                        <a:t>, NC</a:t>
                      </a:r>
                      <a:endParaRPr lang="en-US" sz="16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1</a:t>
                      </a:r>
                      <a:endParaRPr lang="en-US" sz="1600" dirty="0"/>
                    </a:p>
                  </a:txBody>
                  <a:tcPr marT="45725" marB="45725"/>
                </a:tc>
              </a:tr>
              <a:tr h="47144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National –</a:t>
                      </a:r>
                      <a:r>
                        <a:rPr lang="en-US" sz="1600" baseline="0" dirty="0" smtClean="0"/>
                        <a:t> Online Portal</a:t>
                      </a:r>
                      <a:endParaRPr lang="en-US" sz="16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20</a:t>
                      </a:r>
                      <a:endParaRPr lang="en-US" sz="1600" dirty="0"/>
                    </a:p>
                  </a:txBody>
                  <a:tcPr marT="45725" marB="45725"/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76200" y="4572000"/>
          <a:ext cx="8229600" cy="182880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962400"/>
                <a:gridCol w="4267200"/>
              </a:tblGrid>
              <a:tr h="423511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Hourly</a:t>
                      </a:r>
                      <a:endParaRPr lang="en-US" sz="1600" dirty="0"/>
                    </a:p>
                  </a:txBody>
                  <a:tcPr marL="91409" marR="9140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$</a:t>
                      </a:r>
                      <a:r>
                        <a:rPr lang="en-US" sz="1600" baseline="0" dirty="0" smtClean="0"/>
                        <a:t> Per </a:t>
                      </a:r>
                      <a:r>
                        <a:rPr lang="en-US" sz="1600" dirty="0" smtClean="0"/>
                        <a:t>Hour</a:t>
                      </a:r>
                      <a:endParaRPr lang="en-US" sz="1600" dirty="0"/>
                    </a:p>
                  </a:txBody>
                  <a:tcPr marL="91409" marR="91409"/>
                </a:tc>
              </a:tr>
              <a:tr h="46843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Minimum Starting</a:t>
                      </a:r>
                      <a:r>
                        <a:rPr lang="en-US" sz="1600" baseline="0" dirty="0" smtClean="0"/>
                        <a:t> Wage </a:t>
                      </a:r>
                      <a:endParaRPr lang="en-US" sz="1600" dirty="0"/>
                    </a:p>
                  </a:txBody>
                  <a:tcPr marL="91409" marR="9140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$13.50</a:t>
                      </a:r>
                      <a:endParaRPr lang="en-US" sz="1600" dirty="0"/>
                    </a:p>
                  </a:txBody>
                  <a:tcPr marL="91409" marR="91409"/>
                </a:tc>
              </a:tr>
              <a:tr h="46843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Max Starting</a:t>
                      </a:r>
                      <a:r>
                        <a:rPr lang="en-US" sz="1600" baseline="0" dirty="0" smtClean="0"/>
                        <a:t> Wage </a:t>
                      </a:r>
                      <a:endParaRPr lang="en-US" sz="1600" dirty="0"/>
                    </a:p>
                  </a:txBody>
                  <a:tcPr marL="91409" marR="9140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$24.00</a:t>
                      </a:r>
                      <a:endParaRPr lang="en-US" sz="1600" dirty="0"/>
                    </a:p>
                  </a:txBody>
                  <a:tcPr marL="91409" marR="91409"/>
                </a:tc>
              </a:tr>
              <a:tr h="46843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verage Wage </a:t>
                      </a:r>
                      <a:endParaRPr lang="en-US" sz="1600" dirty="0"/>
                    </a:p>
                  </a:txBody>
                  <a:tcPr marL="91409" marR="9140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$18.38</a:t>
                      </a:r>
                      <a:endParaRPr lang="en-US" sz="1600" dirty="0"/>
                    </a:p>
                  </a:txBody>
                  <a:tcPr marL="91409" marR="91409"/>
                </a:tc>
              </a:tr>
            </a:tbl>
          </a:graphicData>
        </a:graphic>
      </p:graphicFrame>
      <p:sp>
        <p:nvSpPr>
          <p:cNvPr id="11" name="AutoShape 8"/>
          <p:cNvSpPr>
            <a:spLocks noChangeArrowheads="1"/>
          </p:cNvSpPr>
          <p:nvPr/>
        </p:nvSpPr>
        <p:spPr bwMode="auto">
          <a:xfrm>
            <a:off x="76200" y="1163638"/>
            <a:ext cx="8229600" cy="509587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23000">
                <a:schemeClr val="accent2">
                  <a:lumMod val="50000"/>
                </a:schemeClr>
              </a:gs>
              <a:gs pos="100000">
                <a:schemeClr val="accent2"/>
              </a:gs>
            </a:gsLst>
            <a:lin ang="13500000" scaled="1"/>
            <a:tileRect/>
          </a:gra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chemeClr val="bg1"/>
                </a:solidFill>
                <a:latin typeface="+mn-lt"/>
                <a:cs typeface="+mn-cs"/>
              </a:rPr>
              <a:t>Updated: May 31, 2015</a:t>
            </a:r>
          </a:p>
        </p:txBody>
      </p:sp>
      <p:sp>
        <p:nvSpPr>
          <p:cNvPr id="26688" name="Rectangle 1"/>
          <p:cNvSpPr>
            <a:spLocks noChangeArrowheads="1"/>
          </p:cNvSpPr>
          <p:nvPr/>
        </p:nvSpPr>
        <p:spPr bwMode="auto">
          <a:xfrm>
            <a:off x="8610600" y="5638800"/>
            <a:ext cx="3016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latin typeface="Calibri" panose="020F0502020204030204" pitchFamily="34" charset="0"/>
              </a:rPr>
              <a:t>8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743200"/>
            <a:ext cx="7772400" cy="1470025"/>
          </a:xfrm>
        </p:spPr>
        <p:txBody>
          <a:bodyPr>
            <a:normAutofit/>
          </a:bodyPr>
          <a:lstStyle/>
          <a:p>
            <a:r>
              <a:rPr lang="en-US" sz="7200" dirty="0" smtClean="0"/>
              <a:t>Q&amp;A</a:t>
            </a:r>
            <a:endParaRPr lang="en-US" sz="7200" dirty="0"/>
          </a:p>
        </p:txBody>
      </p:sp>
      <p:pic>
        <p:nvPicPr>
          <p:cNvPr id="5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9800" y="152400"/>
            <a:ext cx="2709989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3505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>
                <a:solidFill>
                  <a:srgbClr val="002060"/>
                </a:solidFill>
              </a:rPr>
              <a:t>Meet Your Panelists</a:t>
            </a:r>
            <a:endParaRPr lang="en-US" sz="3600" dirty="0">
              <a:solidFill>
                <a:srgbClr val="002060"/>
              </a:solidFill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7280" y="5341710"/>
            <a:ext cx="753035" cy="74658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4" name="TextBox 3"/>
          <p:cNvSpPr txBox="1"/>
          <p:nvPr/>
        </p:nvSpPr>
        <p:spPr>
          <a:xfrm>
            <a:off x="2395631" y="2743200"/>
            <a:ext cx="5906833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prstClr val="black"/>
                </a:solidFill>
                <a:latin typeface="Georgia" panose="02040502050405020303" pitchFamily="18" charset="0"/>
                <a:cs typeface="+mn-cs"/>
              </a:rPr>
              <a:t>Andrew J. Houtenville, Ph.D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prstClr val="black"/>
                </a:solidFill>
                <a:latin typeface="Georgia" panose="02040502050405020303" pitchFamily="18" charset="0"/>
                <a:cs typeface="+mn-cs"/>
              </a:rPr>
              <a:t>Associate Professor of Economics and Research Director of the Institute on Disabilit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prstClr val="black"/>
                </a:solidFill>
                <a:latin typeface="Georgia" panose="02040502050405020303" pitchFamily="18" charset="0"/>
                <a:cs typeface="+mn-cs"/>
              </a:rPr>
              <a:t>University of New Hampshire</a:t>
            </a:r>
            <a:endParaRPr lang="en-US" sz="1400" dirty="0">
              <a:solidFill>
                <a:prstClr val="black"/>
              </a:solidFill>
              <a:latin typeface="Georgia" panose="02040502050405020303" pitchFamily="18" charset="0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395630" y="1458777"/>
            <a:ext cx="446237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tabLst>
                <a:tab pos="1257300" algn="l"/>
              </a:tabLst>
            </a:pPr>
            <a:r>
              <a:rPr lang="en-US" sz="1600" i="1" dirty="0" smtClean="0">
                <a:solidFill>
                  <a:prstClr val="black"/>
                </a:solidFill>
                <a:latin typeface="Georgia" panose="02040502050405020303" pitchFamily="18" charset="0"/>
                <a:cs typeface="+mn-cs"/>
              </a:rPr>
              <a:t>Moderator:	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tabLst>
                <a:tab pos="1257300" algn="l"/>
              </a:tabLst>
            </a:pPr>
            <a:r>
              <a:rPr lang="en-US" sz="1600" b="1" dirty="0" smtClean="0">
                <a:solidFill>
                  <a:prstClr val="black"/>
                </a:solidFill>
                <a:latin typeface="Georgia" panose="02040502050405020303" pitchFamily="18" charset="0"/>
                <a:cs typeface="+mn-cs"/>
              </a:rPr>
              <a:t>Stephanie Powers</a:t>
            </a:r>
            <a:r>
              <a:rPr lang="en-US" sz="1400" dirty="0" smtClean="0">
                <a:solidFill>
                  <a:prstClr val="black"/>
                </a:solidFill>
                <a:latin typeface="Georgia" panose="02040502050405020303" pitchFamily="18" charset="0"/>
                <a:cs typeface="+mn-cs"/>
              </a:rPr>
              <a:t>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tabLst>
                <a:tab pos="1257300" algn="l"/>
              </a:tabLst>
            </a:pPr>
            <a:r>
              <a:rPr lang="en-US" sz="1400" dirty="0" smtClean="0">
                <a:solidFill>
                  <a:prstClr val="black"/>
                </a:solidFill>
                <a:latin typeface="Georgia" panose="02040502050405020303" pitchFamily="18" charset="0"/>
                <a:cs typeface="+mn-cs"/>
              </a:rPr>
              <a:t>Senior Director for Policy &amp; Partnership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tabLst>
                <a:tab pos="1257300" algn="l"/>
              </a:tabLst>
            </a:pPr>
            <a:r>
              <a:rPr lang="en-US" sz="1400" dirty="0" smtClean="0">
                <a:solidFill>
                  <a:prstClr val="black"/>
                </a:solidFill>
                <a:latin typeface="Georgia" panose="02040502050405020303" pitchFamily="18" charset="0"/>
                <a:cs typeface="+mn-cs"/>
              </a:rPr>
              <a:t>Council on Foundations</a:t>
            </a:r>
            <a:endParaRPr lang="en-US" sz="1400" dirty="0">
              <a:solidFill>
                <a:prstClr val="black"/>
              </a:solidFill>
              <a:latin typeface="Georgia" panose="02040502050405020303" pitchFamily="18" charset="0"/>
              <a:cs typeface="+mn-cs"/>
            </a:endParaRPr>
          </a:p>
        </p:txBody>
      </p:sp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0489" y="1516339"/>
            <a:ext cx="799275" cy="7992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3555" y="4038600"/>
            <a:ext cx="653142" cy="9144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15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6319" y="2743200"/>
            <a:ext cx="731520" cy="9144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17" name="TextBox 16"/>
          <p:cNvSpPr txBox="1"/>
          <p:nvPr/>
        </p:nvSpPr>
        <p:spPr>
          <a:xfrm>
            <a:off x="2395630" y="5166793"/>
            <a:ext cx="59068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prstClr val="black"/>
                </a:solidFill>
                <a:latin typeface="Georgia" panose="02040502050405020303" pitchFamily="18" charset="0"/>
                <a:cs typeface="+mn-cs"/>
              </a:rPr>
              <a:t>John O’Neill, Ph.D.</a:t>
            </a:r>
            <a:endParaRPr lang="en-US" sz="1600" b="1" dirty="0">
              <a:solidFill>
                <a:prstClr val="black"/>
              </a:solidFill>
              <a:latin typeface="Georgia" panose="02040502050405020303" pitchFamily="18" charset="0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prstClr val="black"/>
                </a:solidFill>
                <a:latin typeface="Georgia" panose="02040502050405020303" pitchFamily="18" charset="0"/>
                <a:cs typeface="+mn-cs"/>
              </a:rPr>
              <a:t>Director of Employment and Disability Research</a:t>
            </a:r>
            <a:endParaRPr lang="en-US" sz="1400" dirty="0">
              <a:solidFill>
                <a:prstClr val="black"/>
              </a:solidFill>
              <a:latin typeface="Georgia" panose="02040502050405020303" pitchFamily="18" charset="0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prstClr val="black"/>
                </a:solidFill>
                <a:latin typeface="Georgia" panose="02040502050405020303" pitchFamily="18" charset="0"/>
                <a:cs typeface="+mn-cs"/>
              </a:rPr>
              <a:t>Kessler Foundation</a:t>
            </a:r>
            <a:endParaRPr lang="en-US" sz="1400" dirty="0">
              <a:solidFill>
                <a:prstClr val="black"/>
              </a:solidFill>
              <a:latin typeface="Georgia" panose="02040502050405020303" pitchFamily="18" charset="0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395630" y="4038600"/>
            <a:ext cx="59068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dirty="0" smtClean="0">
                <a:solidFill>
                  <a:prstClr val="black"/>
                </a:solidFill>
                <a:latin typeface="Georgia" panose="02040502050405020303" pitchFamily="18" charset="0"/>
                <a:cs typeface="+mn-cs"/>
              </a:rPr>
              <a:t>Elaine E. Katz, MS, CCC-SP </a:t>
            </a:r>
            <a:endParaRPr lang="en-US" sz="1600" b="1" dirty="0">
              <a:solidFill>
                <a:prstClr val="black"/>
              </a:solidFill>
              <a:latin typeface="Georgia" panose="02040502050405020303" pitchFamily="18" charset="0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prstClr val="black"/>
                </a:solidFill>
                <a:latin typeface="Georgia" panose="02040502050405020303" pitchFamily="18" charset="0"/>
                <a:cs typeface="+mn-cs"/>
              </a:rPr>
              <a:t>Senior </a:t>
            </a:r>
            <a:r>
              <a:rPr lang="en-US" sz="1400" dirty="0" smtClean="0">
                <a:solidFill>
                  <a:prstClr val="black"/>
                </a:solidFill>
                <a:latin typeface="Georgia" panose="02040502050405020303" pitchFamily="18" charset="0"/>
                <a:cs typeface="+mn-cs"/>
              </a:rPr>
              <a:t>Vice President of Grants and Communication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prstClr val="black"/>
                </a:solidFill>
                <a:latin typeface="Georgia" panose="02040502050405020303" pitchFamily="18" charset="0"/>
                <a:cs typeface="+mn-cs"/>
              </a:rPr>
              <a:t>Kessler Foundation</a:t>
            </a:r>
          </a:p>
        </p:txBody>
      </p:sp>
    </p:spTree>
    <p:extLst>
      <p:ext uri="{BB962C8B-B14F-4D97-AF65-F5344CB8AC3E}">
        <p14:creationId xmlns:p14="http://schemas.microsoft.com/office/powerpoint/2010/main" val="1876128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2371725" y="1295400"/>
          <a:ext cx="4343400" cy="3619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28664"/>
                <a:gridCol w="714736"/>
              </a:tblGrid>
              <a:tr h="36195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Demographic</a:t>
                      </a:r>
                      <a:r>
                        <a:rPr lang="en-US" sz="1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category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</a:txBody>
                  <a:tcPr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Pct.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195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baseline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tal</a:t>
                      </a:r>
                      <a:r>
                        <a:rPr lang="en-US" sz="1800" baseline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800" baseline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aseline="0" dirty="0" smtClean="0">
                          <a:solidFill>
                            <a:srgbClr val="000000"/>
                          </a:solidFill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%</a:t>
                      </a:r>
                      <a:endParaRPr lang="en-US" sz="1800" baseline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6195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baseline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ender</a:t>
                      </a:r>
                      <a:endParaRPr lang="en-US" sz="1800" b="1" baseline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aseline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6195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aseline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- Women </a:t>
                      </a:r>
                      <a:endParaRPr lang="en-US" sz="1800" baseline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aseline="0" dirty="0" smtClean="0">
                          <a:solidFill>
                            <a:srgbClr val="000000"/>
                          </a:solidFill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%</a:t>
                      </a:r>
                      <a:endParaRPr lang="en-US" sz="1800" baseline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619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aseline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- Men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aseline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%</a:t>
                      </a:r>
                      <a:endParaRPr lang="en-US" sz="1800" baseline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6195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baseline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ace/Ethnicity</a:t>
                      </a:r>
                      <a:endParaRPr lang="en-US" sz="1800" b="1" baseline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aseline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6195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aseline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- White alone, non-Hispanic</a:t>
                      </a:r>
                      <a:endParaRPr lang="en-US" sz="1800" baseline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aseline="0" dirty="0" smtClean="0">
                          <a:solidFill>
                            <a:srgbClr val="000000"/>
                          </a:solidFill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%</a:t>
                      </a:r>
                      <a:endParaRPr lang="en-US" sz="1800" baseline="0" dirty="0" smtClean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6195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aseline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- Black alone, non-Hispanic</a:t>
                      </a:r>
                      <a:endParaRPr lang="en-US" sz="1800" baseline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aseline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%</a:t>
                      </a:r>
                      <a:endParaRPr lang="en-US" sz="1800" baseline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6195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aseline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- Asian alone, non-Hispanic</a:t>
                      </a:r>
                      <a:endParaRPr lang="en-US" sz="1800" baseline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aseline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%</a:t>
                      </a:r>
                      <a:endParaRPr lang="en-US" sz="1800" baseline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6195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aseline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- Hispanic</a:t>
                      </a:r>
                      <a:endParaRPr lang="en-US" sz="1800" baseline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aseline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%</a:t>
                      </a:r>
                      <a:endParaRPr lang="en-US" sz="1800" baseline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cxnSp>
        <p:nvCxnSpPr>
          <p:cNvPr id="11" name="Straight Connector 10"/>
          <p:cNvCxnSpPr/>
          <p:nvPr/>
        </p:nvCxnSpPr>
        <p:spPr>
          <a:xfrm>
            <a:off x="0" y="6002338"/>
            <a:ext cx="9144000" cy="0"/>
          </a:xfrm>
          <a:prstGeom prst="line">
            <a:avLst/>
          </a:prstGeom>
          <a:ln w="53975">
            <a:solidFill>
              <a:srgbClr val="1652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78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172200"/>
            <a:ext cx="16764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-3175" y="304800"/>
            <a:ext cx="9144000" cy="952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Percent with a Disability in US</a:t>
            </a:r>
          </a:p>
        </p:txBody>
      </p:sp>
    </p:spTree>
    <p:extLst>
      <p:ext uri="{BB962C8B-B14F-4D97-AF65-F5344CB8AC3E}">
        <p14:creationId xmlns:p14="http://schemas.microsoft.com/office/powerpoint/2010/main" val="3239925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2371725" y="1295400"/>
          <a:ext cx="4343400" cy="39814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28664"/>
                <a:gridCol w="714736"/>
              </a:tblGrid>
              <a:tr h="36195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Demographic</a:t>
                      </a:r>
                      <a:r>
                        <a:rPr lang="en-US" sz="1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category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</a:txBody>
                  <a:tcPr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Pct.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195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baseline="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ge group</a:t>
                      </a:r>
                      <a:endParaRPr lang="en-US" sz="1800" b="1" baseline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%</a:t>
                      </a:r>
                      <a:endParaRPr lang="en-US" sz="1800" baseline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6195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 - Under 15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%</a:t>
                      </a:r>
                    </a:p>
                  </a:txBody>
                  <a:tcPr marL="6350" marR="6350" marT="6350" marB="0" anchor="ctr"/>
                </a:tc>
              </a:tr>
              <a:tr h="36195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-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%</a:t>
                      </a:r>
                    </a:p>
                  </a:txBody>
                  <a:tcPr marL="6350" marR="6350" marT="6350" marB="0" anchor="ctr"/>
                </a:tc>
              </a:tr>
              <a:tr h="36195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-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 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4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%</a:t>
                      </a:r>
                    </a:p>
                  </a:txBody>
                  <a:tcPr marL="6350" marR="6350" marT="6350" marB="0" anchor="ctr"/>
                </a:tc>
              </a:tr>
              <a:tr h="36195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-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5 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4</a:t>
                      </a:r>
                      <a:r>
                        <a:rPr lang="en-US" sz="1800" baseline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%</a:t>
                      </a:r>
                    </a:p>
                  </a:txBody>
                  <a:tcPr marL="6350" marR="6350" marT="6350" marB="0" anchor="ctr"/>
                </a:tc>
              </a:tr>
              <a:tr h="36195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-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5 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4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%</a:t>
                      </a:r>
                    </a:p>
                  </a:txBody>
                  <a:tcPr marL="6350" marR="6350" marT="6350" marB="0" anchor="ctr"/>
                </a:tc>
              </a:tr>
              <a:tr h="36195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-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 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9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%</a:t>
                      </a:r>
                    </a:p>
                  </a:txBody>
                  <a:tcPr marL="6350" marR="6350" marT="6350" marB="0" anchor="ctr"/>
                </a:tc>
              </a:tr>
              <a:tr h="36195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-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0 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3%</a:t>
                      </a:r>
                    </a:p>
                  </a:txBody>
                  <a:tcPr marL="6350" marR="6350" marT="6350" marB="0" anchor="ctr"/>
                </a:tc>
              </a:tr>
              <a:tr h="36195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-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 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9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4%</a:t>
                      </a:r>
                    </a:p>
                  </a:txBody>
                  <a:tcPr marL="6350" marR="6350" marT="6350" marB="0" anchor="ctr"/>
                </a:tc>
              </a:tr>
              <a:tr h="36195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- </a:t>
                      </a:r>
                      <a:r>
                        <a:rPr 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5</a:t>
                      </a:r>
                      <a:r>
                        <a:rPr lang="en-US" sz="18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and over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1%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/>
                </a:tc>
              </a:tr>
            </a:tbl>
          </a:graphicData>
        </a:graphic>
      </p:graphicFrame>
      <p:cxnSp>
        <p:nvCxnSpPr>
          <p:cNvPr id="11" name="Straight Connector 10"/>
          <p:cNvCxnSpPr/>
          <p:nvPr/>
        </p:nvCxnSpPr>
        <p:spPr>
          <a:xfrm>
            <a:off x="0" y="6002338"/>
            <a:ext cx="9144000" cy="0"/>
          </a:xfrm>
          <a:prstGeom prst="line">
            <a:avLst/>
          </a:prstGeom>
          <a:ln w="53975">
            <a:solidFill>
              <a:srgbClr val="1652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05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172200"/>
            <a:ext cx="16764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-3175" y="304800"/>
            <a:ext cx="9144000" cy="952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Percent with a Disability in US</a:t>
            </a:r>
          </a:p>
        </p:txBody>
      </p:sp>
    </p:spTree>
    <p:extLst>
      <p:ext uri="{BB962C8B-B14F-4D97-AF65-F5344CB8AC3E}">
        <p14:creationId xmlns:p14="http://schemas.microsoft.com/office/powerpoint/2010/main" val="3352286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981200" y="1295400"/>
          <a:ext cx="5105400" cy="12797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67000"/>
                <a:gridCol w="1219200"/>
                <a:gridCol w="1219200"/>
              </a:tblGrid>
              <a:tr h="555984"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  <a:p>
                      <a:pPr algn="l" fontAlgn="b"/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Age group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</a:txBody>
                  <a:tcPr marR="7620" marT="7616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Disability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</a:txBody>
                  <a:tcPr marL="7620" marR="7620" marT="7616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No</a:t>
                      </a:r>
                      <a:r>
                        <a:rPr lang="en-US" sz="1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 (Body)"/>
                        </a:rPr>
                        <a:t> Disability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 (Body)"/>
                      </a:endParaRPr>
                    </a:p>
                  </a:txBody>
                  <a:tcPr marL="7620" marR="7620" marT="7616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177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ges 15 to</a:t>
                      </a:r>
                      <a:r>
                        <a:rPr lang="en-US" sz="1800" b="0" baseline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64</a:t>
                      </a:r>
                      <a:endParaRPr lang="en-US" sz="18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%</a:t>
                      </a:r>
                      <a:endParaRPr lang="en-US" sz="18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%</a:t>
                      </a:r>
                      <a:endParaRPr lang="en-US" sz="18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6177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ges 65</a:t>
                      </a:r>
                      <a:r>
                        <a:rPr lang="en-US" sz="1800" b="0" baseline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nd over</a:t>
                      </a:r>
                      <a:endParaRPr lang="en-US" sz="18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%</a:t>
                      </a:r>
                      <a:endParaRPr lang="en-US" sz="18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 smtClean="0">
                          <a:effectLst/>
                          <a:latin typeface="Calibri (Body)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%</a:t>
                      </a:r>
                      <a:endParaRPr lang="en-US" sz="1800" b="0" dirty="0">
                        <a:effectLst/>
                        <a:latin typeface="Calibri (Body)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cxnSp>
        <p:nvCxnSpPr>
          <p:cNvPr id="11" name="Straight Connector 10"/>
          <p:cNvCxnSpPr/>
          <p:nvPr/>
        </p:nvCxnSpPr>
        <p:spPr>
          <a:xfrm>
            <a:off x="0" y="6002338"/>
            <a:ext cx="9144000" cy="0"/>
          </a:xfrm>
          <a:prstGeom prst="line">
            <a:avLst/>
          </a:prstGeom>
          <a:ln w="53975">
            <a:solidFill>
              <a:srgbClr val="1652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309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172200"/>
            <a:ext cx="16764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-3175" y="304800"/>
            <a:ext cx="9144000" cy="952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Poverty rates, by disability sta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0" y="6002338"/>
            <a:ext cx="9144000" cy="0"/>
          </a:xfrm>
          <a:prstGeom prst="line">
            <a:avLst/>
          </a:prstGeom>
          <a:ln w="53975">
            <a:solidFill>
              <a:srgbClr val="1652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172200"/>
            <a:ext cx="16764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-3175" y="304800"/>
            <a:ext cx="9144000" cy="952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Share of population in poverty </a:t>
            </a:r>
            <a:r>
              <a:rPr lang="en-US" sz="3000" b="1" dirty="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(25-64)</a:t>
            </a:r>
          </a:p>
        </p:txBody>
      </p:sp>
      <p:graphicFrame>
        <p:nvGraphicFramePr>
          <p:cNvPr id="1026" name="Chart 5"/>
          <p:cNvGraphicFramePr>
            <a:graphicFrameLocks/>
          </p:cNvGraphicFramePr>
          <p:nvPr/>
        </p:nvGraphicFramePr>
        <p:xfrm>
          <a:off x="1524000" y="1397000"/>
          <a:ext cx="6096000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r:id="rId4" imgW="6096528" imgH="4066384" progId="Excel.Chart.8">
                  <p:embed/>
                </p:oleObj>
              </mc:Choice>
              <mc:Fallback>
                <p:oleObj r:id="rId4" imgW="6096528" imgH="4066384" progId="Excel.Chart.8">
                  <p:embed/>
                  <p:pic>
                    <p:nvPicPr>
                      <p:cNvPr id="0" name="Chart 5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1397000"/>
                        <a:ext cx="6096000" cy="4064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0" y="6002338"/>
            <a:ext cx="9144000" cy="0"/>
          </a:xfrm>
          <a:prstGeom prst="line">
            <a:avLst/>
          </a:prstGeom>
          <a:ln w="53975">
            <a:solidFill>
              <a:srgbClr val="1652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172200"/>
            <a:ext cx="16764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-3175" y="304800"/>
            <a:ext cx="9144000" cy="952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Share of population in poverty </a:t>
            </a:r>
            <a:r>
              <a:rPr lang="en-US" sz="3000" b="1" dirty="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(65+)</a:t>
            </a:r>
          </a:p>
        </p:txBody>
      </p:sp>
      <p:graphicFrame>
        <p:nvGraphicFramePr>
          <p:cNvPr id="2050" name="Chart 5"/>
          <p:cNvGraphicFramePr>
            <a:graphicFrameLocks/>
          </p:cNvGraphicFramePr>
          <p:nvPr/>
        </p:nvGraphicFramePr>
        <p:xfrm>
          <a:off x="1524000" y="1397000"/>
          <a:ext cx="6096000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r:id="rId4" imgW="6096528" imgH="4066384" progId="Excel.Chart.8">
                  <p:embed/>
                </p:oleObj>
              </mc:Choice>
              <mc:Fallback>
                <p:oleObj r:id="rId4" imgW="6096528" imgH="4066384" progId="Excel.Chart.8">
                  <p:embed/>
                  <p:pic>
                    <p:nvPicPr>
                      <p:cNvPr id="0" name="Chart 5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1397000"/>
                        <a:ext cx="6096000" cy="4064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Chart 4"/>
          <p:cNvGraphicFramePr>
            <a:graphicFrameLocks/>
          </p:cNvGraphicFramePr>
          <p:nvPr/>
        </p:nvGraphicFramePr>
        <p:xfrm>
          <a:off x="914400" y="1204913"/>
          <a:ext cx="7162800" cy="4275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r:id="rId3" imgW="7163421" imgH="4273666" progId="Excel.Chart.8">
                  <p:embed/>
                </p:oleObj>
              </mc:Choice>
              <mc:Fallback>
                <p:oleObj r:id="rId3" imgW="7163421" imgH="4273666" progId="Excel.Chart.8">
                  <p:embed/>
                  <p:pic>
                    <p:nvPicPr>
                      <p:cNvPr id="0" name="Chart 4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14400" y="1204913"/>
                        <a:ext cx="7162800" cy="42751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/>
          <p:cNvCxnSpPr/>
          <p:nvPr/>
        </p:nvCxnSpPr>
        <p:spPr>
          <a:xfrm>
            <a:off x="0" y="6002338"/>
            <a:ext cx="9144000" cy="0"/>
          </a:xfrm>
          <a:prstGeom prst="line">
            <a:avLst/>
          </a:prstGeom>
          <a:ln w="53975">
            <a:solidFill>
              <a:srgbClr val="1652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6" name="Picture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172200"/>
            <a:ext cx="16764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-3175" y="304800"/>
            <a:ext cx="9144000" cy="952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dirty="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Percent Employed, by Disability Statu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000" b="1" dirty="0">
                <a:solidFill>
                  <a:srgbClr val="00206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(Ages 21-64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jznrICY0OSEm4C2G0pZ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Webinar PowerPoint Template" id="{BD65EB23-8EAC-4CD5-B48D-1E5B7AD7CD85}" vid="{44F0D884-93EA-4F10-AB64-B53255FC68D7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Webinar PowerPoint Template" id="{BD65EB23-8EAC-4CD5-B48D-1E5B7AD7CD85}" vid="{79A9F130-2235-4B66-B212-A9E4689F7217}"/>
    </a:ext>
  </a:extLst>
</a:theme>
</file>

<file path=ppt/theme/theme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Webinar PowerPoint Template" id="{BD65EB23-8EAC-4CD5-B48D-1E5B7AD7CD85}" vid="{79A9F130-2235-4B66-B212-A9E4689F7217}"/>
    </a:ext>
  </a:extLst>
</a:theme>
</file>

<file path=ppt/theme/theme5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C271A1B4-9582-425C-B415-466652D79074}" vid="{AFE75118-26D7-4634-BE17-59F2934BA76F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71</TotalTime>
  <Words>1303</Words>
  <Application>Microsoft Office PowerPoint</Application>
  <PresentationFormat>On-screen Show (4:3)</PresentationFormat>
  <Paragraphs>302</Paragraphs>
  <Slides>28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8</vt:i4>
      </vt:variant>
    </vt:vector>
  </HeadingPairs>
  <TitlesOfParts>
    <vt:vector size="37" baseType="lpstr">
      <vt:lpstr>Office Theme</vt:lpstr>
      <vt:lpstr>2_Office Theme</vt:lpstr>
      <vt:lpstr>1_Office Theme</vt:lpstr>
      <vt:lpstr>3_Office Theme</vt:lpstr>
      <vt:lpstr>4_Office Theme</vt:lpstr>
      <vt:lpstr>7_Office Theme</vt:lpstr>
      <vt:lpstr>Microsoft Excel Chart</vt:lpstr>
      <vt:lpstr>Chart</vt:lpstr>
      <vt:lpstr>think-cell Slide</vt:lpstr>
      <vt:lpstr>Striving for Work and Overcoming Barriers:</vt:lpstr>
      <vt:lpstr>PowerPoint Presentation</vt:lpstr>
      <vt:lpstr>Meet Your Panelis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ational Trends in Disability Employments (nTIDE)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utting Faith to Work Model</vt:lpstr>
      <vt:lpstr>KESSLER’s Signature Employment Grant</vt:lpstr>
      <vt:lpstr>PowerPoint Presentation</vt:lpstr>
      <vt:lpstr>Participant Flow Chart</vt:lpstr>
      <vt:lpstr>Pepsi ACT  Achieving Change Together </vt:lpstr>
      <vt:lpstr>PowerPoint Presentation</vt:lpstr>
      <vt:lpstr>Pepsi ACT: Project Totals</vt:lpstr>
      <vt:lpstr>Q&amp;A</vt:lpstr>
    </vt:vector>
  </TitlesOfParts>
  <Company>Institute on Disabilit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JH</dc:creator>
  <cp:lastModifiedBy>Stacey Moore</cp:lastModifiedBy>
  <cp:revision>174</cp:revision>
  <dcterms:created xsi:type="dcterms:W3CDTF">2015-02-20T13:27:30Z</dcterms:created>
  <dcterms:modified xsi:type="dcterms:W3CDTF">2015-07-21T19:25:36Z</dcterms:modified>
</cp:coreProperties>
</file>